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  <p:sldMasterId id="2147483660" r:id="rId2"/>
  </p:sldMasterIdLst>
  <p:sldIdLst>
    <p:sldId id="5271" r:id="rId3"/>
    <p:sldId id="257" r:id="rId4"/>
    <p:sldId id="258" r:id="rId5"/>
    <p:sldId id="260" r:id="rId6"/>
    <p:sldId id="261" r:id="rId7"/>
    <p:sldId id="262" r:id="rId8"/>
    <p:sldId id="263" r:id="rId9"/>
    <p:sldId id="264" r:id="rId10"/>
    <p:sldId id="259" r:id="rId11"/>
    <p:sldId id="265" r:id="rId12"/>
    <p:sldId id="266" r:id="rId13"/>
    <p:sldId id="267" r:id="rId14"/>
  </p:sldIdLst>
  <p:sldSz cx="18288000" cy="10287000"/>
  <p:notesSz cx="6858000" cy="9144000"/>
  <p:embeddedFontLst>
    <p:embeddedFont>
      <p:font typeface="DM Sans 1" panose="020B0604020202020204" charset="0"/>
      <p:regular r:id="rId15"/>
    </p:embeddedFont>
    <p:embeddedFont>
      <p:font typeface="DM Sans 2" panose="020B0604020202020204" charset="0"/>
      <p:regular r:id="rId16"/>
    </p:embeddedFont>
    <p:embeddedFont>
      <p:font typeface="DM Sans 2 Bold" panose="020B0604020202020204" charset="0"/>
      <p:regular r:id="rId17"/>
    </p:embeddedFont>
    <p:embeddedFont>
      <p:font typeface="Open Sans Bold" panose="020B0604020202020204" charset="0"/>
      <p:regular r:id="rId18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16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4622" autoAdjust="0"/>
  </p:normalViewPr>
  <p:slideViewPr>
    <p:cSldViewPr>
      <p:cViewPr varScale="1">
        <p:scale>
          <a:sx n="71" d="100"/>
          <a:sy n="71" d="100"/>
        </p:scale>
        <p:origin x="714" y="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font" Target="fonts/font4.fntdata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font" Target="fonts/font3.fntdata"/><Relationship Id="rId2" Type="http://schemas.openxmlformats.org/officeDocument/2006/relationships/slideMaster" Target="slideMasters/slideMaster2.xml"/><Relationship Id="rId16" Type="http://schemas.openxmlformats.org/officeDocument/2006/relationships/font" Target="fonts/font2.fntdata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font" Target="fonts/font1.fntdata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8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3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3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3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D1AA51-D695-2B46-875E-A953EB3D16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FC9AFAD-C49B-1040-8FA0-79041CCF46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ahmenstrategie 2021 - Name Referent*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7C27DF7-E53B-E240-9C62-AF038C0D70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//XX</a:t>
            </a:r>
          </a:p>
        </p:txBody>
      </p:sp>
    </p:spTree>
    <p:extLst>
      <p:ext uri="{BB962C8B-B14F-4D97-AF65-F5344CB8AC3E}">
        <p14:creationId xmlns:p14="http://schemas.microsoft.com/office/powerpoint/2010/main" val="10851496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30659CD-7A28-F14F-BAB7-0F132D13F9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9174564"/>
              </p:ext>
            </p:extLst>
          </p:nvPr>
        </p:nvGraphicFramePr>
        <p:xfrm>
          <a:off x="2383" y="2382"/>
          <a:ext cx="1841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30659CD-7A28-F14F-BAB7-0F132D13F9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3" y="2382"/>
                        <a:ext cx="1841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1190813C-06BF-6846-9CB7-4CD4AD461D6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7466" y="1206451"/>
            <a:ext cx="15060705" cy="8471648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74CBDDB2-B78A-FF4C-3E2A-AEF6AE37A61F}"/>
              </a:ext>
            </a:extLst>
          </p:cNvPr>
          <p:cNvSpPr/>
          <p:nvPr userDrawn="1"/>
        </p:nvSpPr>
        <p:spPr>
          <a:xfrm>
            <a:off x="-1" y="-53847"/>
            <a:ext cx="11981330" cy="1034084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5BB7336-83F4-7FC2-779A-5B1B1B1794E4}"/>
              </a:ext>
            </a:extLst>
          </p:cNvPr>
          <p:cNvSpPr/>
          <p:nvPr userDrawn="1"/>
        </p:nvSpPr>
        <p:spPr>
          <a:xfrm>
            <a:off x="6306671" y="-53847"/>
            <a:ext cx="11981330" cy="172800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E10D22B-68B3-78A7-1DA1-0F1AB0EF97A2}"/>
              </a:ext>
            </a:extLst>
          </p:cNvPr>
          <p:cNvSpPr/>
          <p:nvPr userDrawn="1"/>
        </p:nvSpPr>
        <p:spPr>
          <a:xfrm>
            <a:off x="6326840" y="9110805"/>
            <a:ext cx="11981330" cy="12300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</p:spTree>
    <p:extLst>
      <p:ext uri="{BB962C8B-B14F-4D97-AF65-F5344CB8AC3E}">
        <p14:creationId xmlns:p14="http://schemas.microsoft.com/office/powerpoint/2010/main" val="2388698392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folie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92E87808-D944-C24C-B300-BC465CFA3D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FE75C6CD-2F35-EEB1-EE0C-D3691D4D1B4E}"/>
              </a:ext>
            </a:extLst>
          </p:cNvPr>
          <p:cNvSpPr/>
          <p:nvPr userDrawn="1"/>
        </p:nvSpPr>
        <p:spPr>
          <a:xfrm>
            <a:off x="9797144" y="413047"/>
            <a:ext cx="8229600" cy="156754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</p:spTree>
    <p:extLst>
      <p:ext uri="{BB962C8B-B14F-4D97-AF65-F5344CB8AC3E}">
        <p14:creationId xmlns:p14="http://schemas.microsoft.com/office/powerpoint/2010/main" val="1118615242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21293384-A569-9E4E-9B48-7F81BCC4D2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  <a:solidFill>
            <a:schemeClr val="tx2"/>
          </a:solidFill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F6FFE28A-7E72-424D-1B01-AE7785EA7A6E}"/>
              </a:ext>
            </a:extLst>
          </p:cNvPr>
          <p:cNvSpPr/>
          <p:nvPr userDrawn="1"/>
        </p:nvSpPr>
        <p:spPr>
          <a:xfrm>
            <a:off x="9797144" y="413047"/>
            <a:ext cx="8229600" cy="156754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</p:spTree>
    <p:extLst>
      <p:ext uri="{BB962C8B-B14F-4D97-AF65-F5344CB8AC3E}">
        <p14:creationId xmlns:p14="http://schemas.microsoft.com/office/powerpoint/2010/main" val="595237172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Zwischen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33C1CC10-E0AD-E436-7E73-0C8A2FA8E0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50000" contras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06CF6128-D9A8-9462-BEEA-BCDA9B80B540}"/>
              </a:ext>
            </a:extLst>
          </p:cNvPr>
          <p:cNvSpPr/>
          <p:nvPr userDrawn="1"/>
        </p:nvSpPr>
        <p:spPr>
          <a:xfrm>
            <a:off x="9797144" y="413047"/>
            <a:ext cx="8229600" cy="1567544"/>
          </a:xfrm>
          <a:prstGeom prst="rect">
            <a:avLst/>
          </a:prstGeom>
          <a:solidFill>
            <a:srgbClr val="002D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</p:spTree>
    <p:extLst>
      <p:ext uri="{BB962C8B-B14F-4D97-AF65-F5344CB8AC3E}">
        <p14:creationId xmlns:p14="http://schemas.microsoft.com/office/powerpoint/2010/main" val="56768356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Zwischen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33C1CC10-E0AD-E436-7E73-0C8A2FA8E0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50000" contras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06CF6128-D9A8-9462-BEEA-BCDA9B80B540}"/>
              </a:ext>
            </a:extLst>
          </p:cNvPr>
          <p:cNvSpPr/>
          <p:nvPr userDrawn="1"/>
        </p:nvSpPr>
        <p:spPr>
          <a:xfrm>
            <a:off x="9797144" y="413047"/>
            <a:ext cx="8229600" cy="1567544"/>
          </a:xfrm>
          <a:prstGeom prst="rect">
            <a:avLst/>
          </a:prstGeom>
          <a:solidFill>
            <a:srgbClr val="002D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F5D63B19-E5A2-80FB-D935-110B00C30C17}"/>
              </a:ext>
            </a:extLst>
          </p:cNvPr>
          <p:cNvGrpSpPr/>
          <p:nvPr userDrawn="1"/>
        </p:nvGrpSpPr>
        <p:grpSpPr>
          <a:xfrm>
            <a:off x="997528" y="2541514"/>
            <a:ext cx="16292945" cy="7305206"/>
            <a:chOff x="1439101" y="2020771"/>
            <a:chExt cx="7829277" cy="4547632"/>
          </a:xfrm>
        </p:grpSpPr>
        <p:sp>
          <p:nvSpPr>
            <p:cNvPr id="3" name="Inhaltsplatzhalter 1">
              <a:extLst>
                <a:ext uri="{FF2B5EF4-FFF2-40B4-BE49-F238E27FC236}">
                  <a16:creationId xmlns:a16="http://schemas.microsoft.com/office/drawing/2014/main" id="{F72A9BC4-6929-0BDF-EA8C-9E3A75BE198A}"/>
                </a:ext>
              </a:extLst>
            </p:cNvPr>
            <p:cNvSpPr txBox="1">
              <a:spLocks/>
            </p:cNvSpPr>
            <p:nvPr/>
          </p:nvSpPr>
          <p:spPr>
            <a:xfrm>
              <a:off x="1439101" y="2020771"/>
              <a:ext cx="3906388" cy="2167558"/>
            </a:xfrm>
            <a:prstGeom prst="rect">
              <a:avLst/>
            </a:prstGeom>
            <a:solidFill>
              <a:srgbClr val="FEFFFF">
                <a:alpha val="12941"/>
              </a:srgbClr>
            </a:solidFill>
          </p:spPr>
          <p:txBody>
            <a:bodyPr vert="horz" lIns="91440" tIns="45720" rIns="91440" bIns="45720" rtlCol="0" anchor="t">
              <a:norm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600" kern="1200">
                  <a:solidFill>
                    <a:schemeClr val="bg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 sz="5400"/>
            </a:p>
          </p:txBody>
        </p:sp>
        <p:sp>
          <p:nvSpPr>
            <p:cNvPr id="6" name="Inhaltsplatzhalter 1">
              <a:extLst>
                <a:ext uri="{FF2B5EF4-FFF2-40B4-BE49-F238E27FC236}">
                  <a16:creationId xmlns:a16="http://schemas.microsoft.com/office/drawing/2014/main" id="{62B87217-F7A0-EB1E-3347-B18516D55043}"/>
                </a:ext>
              </a:extLst>
            </p:cNvPr>
            <p:cNvSpPr txBox="1">
              <a:spLocks/>
            </p:cNvSpPr>
            <p:nvPr/>
          </p:nvSpPr>
          <p:spPr>
            <a:xfrm>
              <a:off x="5559545" y="2020771"/>
              <a:ext cx="3708833" cy="2167558"/>
            </a:xfrm>
            <a:prstGeom prst="rect">
              <a:avLst/>
            </a:prstGeom>
            <a:solidFill>
              <a:srgbClr val="FEFFFF">
                <a:alpha val="12941"/>
              </a:srgbClr>
            </a:solidFill>
          </p:spPr>
          <p:txBody>
            <a:bodyPr vert="horz" lIns="91440" tIns="45720" rIns="91440" bIns="45720" rtlCol="0" anchor="t">
              <a:norm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600" kern="1200">
                  <a:solidFill>
                    <a:schemeClr val="bg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750"/>
                </a:spcBef>
              </a:pPr>
              <a:endParaRPr lang="de-DE" sz="1800">
                <a:latin typeface="Arial"/>
                <a:cs typeface="Arial"/>
              </a:endParaRPr>
            </a:p>
          </p:txBody>
        </p:sp>
        <p:sp>
          <p:nvSpPr>
            <p:cNvPr id="7" name="Inhaltsplatzhalter 1">
              <a:extLst>
                <a:ext uri="{FF2B5EF4-FFF2-40B4-BE49-F238E27FC236}">
                  <a16:creationId xmlns:a16="http://schemas.microsoft.com/office/drawing/2014/main" id="{40AB41A7-A5EF-9F23-D3EA-96544DABE56A}"/>
                </a:ext>
              </a:extLst>
            </p:cNvPr>
            <p:cNvSpPr txBox="1">
              <a:spLocks/>
            </p:cNvSpPr>
            <p:nvPr/>
          </p:nvSpPr>
          <p:spPr>
            <a:xfrm>
              <a:off x="1439101" y="4400845"/>
              <a:ext cx="3906388" cy="2167558"/>
            </a:xfrm>
            <a:prstGeom prst="rect">
              <a:avLst/>
            </a:prstGeom>
            <a:solidFill>
              <a:srgbClr val="FEFFFF">
                <a:alpha val="12941"/>
              </a:srgbClr>
            </a:solidFill>
          </p:spPr>
          <p:txBody>
            <a:bodyPr vert="horz" lIns="91440" tIns="45720" rIns="91440" bIns="45720" rtlCol="0" anchor="t">
              <a:norm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600" kern="1200">
                  <a:solidFill>
                    <a:schemeClr val="bg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750"/>
                </a:spcBef>
              </a:pPr>
              <a:endParaRPr lang="de-DE" sz="1800" u="sng">
                <a:latin typeface="Arial"/>
                <a:cs typeface="Arial"/>
              </a:endParaRPr>
            </a:p>
          </p:txBody>
        </p:sp>
        <p:sp>
          <p:nvSpPr>
            <p:cNvPr id="8" name="Inhaltsplatzhalter 1">
              <a:extLst>
                <a:ext uri="{FF2B5EF4-FFF2-40B4-BE49-F238E27FC236}">
                  <a16:creationId xmlns:a16="http://schemas.microsoft.com/office/drawing/2014/main" id="{67E2A3B7-58EB-4458-3B10-90DE99356365}"/>
                </a:ext>
              </a:extLst>
            </p:cNvPr>
            <p:cNvSpPr txBox="1">
              <a:spLocks/>
            </p:cNvSpPr>
            <p:nvPr/>
          </p:nvSpPr>
          <p:spPr>
            <a:xfrm>
              <a:off x="5559544" y="4400845"/>
              <a:ext cx="3708833" cy="2167558"/>
            </a:xfrm>
            <a:prstGeom prst="rect">
              <a:avLst/>
            </a:prstGeom>
            <a:solidFill>
              <a:srgbClr val="FEFFFF">
                <a:alpha val="12941"/>
              </a:srgbClr>
            </a:solidFill>
          </p:spPr>
          <p:txBody>
            <a:bodyPr vert="horz" lIns="91440" tIns="45720" rIns="91440" bIns="45720" rtlCol="0" anchor="t">
              <a:norm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600" kern="1200">
                  <a:solidFill>
                    <a:schemeClr val="bg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spcBef>
                  <a:spcPts val="750"/>
                </a:spcBef>
                <a:buFont typeface="Wingdings" pitchFamily="2" charset="2"/>
                <a:buNone/>
              </a:pPr>
              <a:endParaRPr lang="de-DE" sz="1800">
                <a:latin typeface="Arial"/>
                <a:cs typeface="Arial"/>
              </a:endParaRPr>
            </a:p>
          </p:txBody>
        </p:sp>
      </p:grpSp>
      <p:sp>
        <p:nvSpPr>
          <p:cNvPr id="9" name="Rechteck: abgerundete Ecken 3">
            <a:extLst>
              <a:ext uri="{FF2B5EF4-FFF2-40B4-BE49-F238E27FC236}">
                <a16:creationId xmlns:a16="http://schemas.microsoft.com/office/drawing/2014/main" id="{3A053A6A-0EAA-04DC-ABC7-5EED6FB00C20}"/>
              </a:ext>
            </a:extLst>
          </p:cNvPr>
          <p:cNvSpPr/>
          <p:nvPr userDrawn="1"/>
        </p:nvSpPr>
        <p:spPr>
          <a:xfrm rot="16200000">
            <a:off x="-517959" y="3312495"/>
            <a:ext cx="2546430" cy="578736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2700" b="1">
                <a:solidFill>
                  <a:schemeClr val="bg2"/>
                </a:solidFill>
                <a:latin typeface="Arial"/>
                <a:cs typeface="Arial"/>
              </a:rPr>
              <a:t>Sinn / Zweck</a:t>
            </a:r>
            <a:endParaRPr lang="de-DE" sz="2700">
              <a:solidFill>
                <a:schemeClr val="bg2"/>
              </a:solidFill>
              <a:ea typeface="+mn-lt"/>
              <a:cs typeface="+mn-lt"/>
            </a:endParaRPr>
          </a:p>
        </p:txBody>
      </p:sp>
      <p:sp>
        <p:nvSpPr>
          <p:cNvPr id="10" name="Rechteck: abgerundete Ecken 4">
            <a:extLst>
              <a:ext uri="{FF2B5EF4-FFF2-40B4-BE49-F238E27FC236}">
                <a16:creationId xmlns:a16="http://schemas.microsoft.com/office/drawing/2014/main" id="{F0CCB30F-CB06-C598-7853-9521CC08AD88}"/>
              </a:ext>
            </a:extLst>
          </p:cNvPr>
          <p:cNvSpPr/>
          <p:nvPr userDrawn="1"/>
        </p:nvSpPr>
        <p:spPr>
          <a:xfrm rot="5400000">
            <a:off x="15746195" y="3908704"/>
            <a:ext cx="3647202" cy="578738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r>
              <a:rPr lang="de-DE" sz="2700" b="1">
                <a:solidFill>
                  <a:schemeClr val="bg2"/>
                </a:solidFill>
                <a:latin typeface="Arial"/>
                <a:cs typeface="Arial"/>
              </a:rPr>
              <a:t>Personen</a:t>
            </a:r>
            <a:endParaRPr lang="de-DE" sz="2700">
              <a:solidFill>
                <a:schemeClr val="bg2"/>
              </a:solidFill>
              <a:ea typeface="+mn-lt"/>
              <a:cs typeface="+mn-lt"/>
            </a:endParaRPr>
          </a:p>
        </p:txBody>
      </p:sp>
      <p:sp>
        <p:nvSpPr>
          <p:cNvPr id="11" name="Rechteck: abgerundete Ecken 9">
            <a:extLst>
              <a:ext uri="{FF2B5EF4-FFF2-40B4-BE49-F238E27FC236}">
                <a16:creationId xmlns:a16="http://schemas.microsoft.com/office/drawing/2014/main" id="{4FA47FA2-6996-50EA-9538-F5AB64FCD3C0}"/>
              </a:ext>
            </a:extLst>
          </p:cNvPr>
          <p:cNvSpPr/>
          <p:nvPr userDrawn="1"/>
        </p:nvSpPr>
        <p:spPr>
          <a:xfrm rot="16200000">
            <a:off x="-1562902" y="7428405"/>
            <a:ext cx="4611698" cy="578736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r>
              <a:rPr lang="de-DE" sz="2700" b="1">
                <a:solidFill>
                  <a:schemeClr val="bg2"/>
                </a:solidFill>
                <a:latin typeface="Arial"/>
                <a:cs typeface="Arial"/>
              </a:rPr>
              <a:t>Meilensteine</a:t>
            </a:r>
            <a:endParaRPr lang="de-DE" sz="2700">
              <a:solidFill>
                <a:schemeClr val="bg2"/>
              </a:solidFill>
            </a:endParaRPr>
          </a:p>
        </p:txBody>
      </p:sp>
      <p:sp>
        <p:nvSpPr>
          <p:cNvPr id="12" name="Rechteck: abgerundete Ecken 3">
            <a:extLst>
              <a:ext uri="{FF2B5EF4-FFF2-40B4-BE49-F238E27FC236}">
                <a16:creationId xmlns:a16="http://schemas.microsoft.com/office/drawing/2014/main" id="{7496811C-2CE1-103A-D10B-12B52646780A}"/>
              </a:ext>
            </a:extLst>
          </p:cNvPr>
          <p:cNvSpPr/>
          <p:nvPr userDrawn="1"/>
        </p:nvSpPr>
        <p:spPr>
          <a:xfrm rot="16200000">
            <a:off x="-108177" y="915967"/>
            <a:ext cx="1024341" cy="355112"/>
          </a:xfrm>
          <a:prstGeom prst="roundRect">
            <a:avLst/>
          </a:prstGeom>
          <a:solidFill>
            <a:srgbClr val="00143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r>
              <a:rPr lang="de-DE" sz="1500">
                <a:solidFill>
                  <a:schemeClr val="bg2"/>
                </a:solidFill>
                <a:latin typeface="Arial"/>
                <a:cs typeface="Arial"/>
              </a:rPr>
              <a:t>Auftrag</a:t>
            </a:r>
            <a:endParaRPr lang="de-DE" sz="1500">
              <a:solidFill>
                <a:schemeClr val="bg2"/>
              </a:solidFill>
              <a:ea typeface="+mn-lt"/>
              <a:cs typeface="+mn-lt"/>
            </a:endParaRPr>
          </a:p>
        </p:txBody>
      </p:sp>
      <p:sp>
        <p:nvSpPr>
          <p:cNvPr id="13" name="Rechteck: abgerundete Ecken 3">
            <a:extLst>
              <a:ext uri="{FF2B5EF4-FFF2-40B4-BE49-F238E27FC236}">
                <a16:creationId xmlns:a16="http://schemas.microsoft.com/office/drawing/2014/main" id="{02C7822C-199B-EC64-C87A-B12A5C5A31D7}"/>
              </a:ext>
            </a:extLst>
          </p:cNvPr>
          <p:cNvSpPr/>
          <p:nvPr userDrawn="1"/>
        </p:nvSpPr>
        <p:spPr>
          <a:xfrm>
            <a:off x="581550" y="477803"/>
            <a:ext cx="3170646" cy="1262013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endParaRPr lang="de-DE" sz="9900">
              <a:solidFill>
                <a:schemeClr val="bg2"/>
              </a:solidFill>
              <a:ea typeface="+mn-lt"/>
              <a:cs typeface="+mn-lt"/>
            </a:endParaRPr>
          </a:p>
        </p:txBody>
      </p:sp>
      <p:sp>
        <p:nvSpPr>
          <p:cNvPr id="14" name="Rechteck: abgerundete Ecken 3">
            <a:extLst>
              <a:ext uri="{FF2B5EF4-FFF2-40B4-BE49-F238E27FC236}">
                <a16:creationId xmlns:a16="http://schemas.microsoft.com/office/drawing/2014/main" id="{074EFF40-F5F0-915B-357F-9B981BF560B5}"/>
              </a:ext>
            </a:extLst>
          </p:cNvPr>
          <p:cNvSpPr/>
          <p:nvPr userDrawn="1"/>
        </p:nvSpPr>
        <p:spPr>
          <a:xfrm>
            <a:off x="3426542" y="581352"/>
            <a:ext cx="11889659" cy="1024341"/>
          </a:xfrm>
          <a:prstGeom prst="roundRect">
            <a:avLst/>
          </a:prstGeom>
          <a:solidFill>
            <a:srgbClr val="00143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pPr>
              <a:defRPr/>
            </a:pPr>
            <a:endParaRPr kumimoji="0" lang="de-DE" sz="1500" b="0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>
              <a:defRPr/>
            </a:pPr>
            <a:endParaRPr kumimoji="0" lang="de-DE" sz="1500" b="0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>
              <a:defRPr/>
            </a:pPr>
            <a:endParaRPr kumimoji="0" lang="de-DE" sz="1500" b="0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5" name="Rechteck: abgerundete Ecken 3">
            <a:extLst>
              <a:ext uri="{FF2B5EF4-FFF2-40B4-BE49-F238E27FC236}">
                <a16:creationId xmlns:a16="http://schemas.microsoft.com/office/drawing/2014/main" id="{ADAD1F71-9D7A-45A2-7D20-E5D6FA872D27}"/>
              </a:ext>
            </a:extLst>
          </p:cNvPr>
          <p:cNvSpPr/>
          <p:nvPr userDrawn="1"/>
        </p:nvSpPr>
        <p:spPr>
          <a:xfrm>
            <a:off x="15539971" y="582863"/>
            <a:ext cx="2407859" cy="1024341"/>
          </a:xfrm>
          <a:prstGeom prst="roundRect">
            <a:avLst/>
          </a:prstGeom>
          <a:solidFill>
            <a:srgbClr val="00143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pPr marL="0" indent="0">
              <a:buNone/>
            </a:pPr>
            <a:endParaRPr lang="de-DE" sz="300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6" name="Rechteck: abgerundete Ecken 4">
            <a:extLst>
              <a:ext uri="{FF2B5EF4-FFF2-40B4-BE49-F238E27FC236}">
                <a16:creationId xmlns:a16="http://schemas.microsoft.com/office/drawing/2014/main" id="{67351508-2EB7-AE8F-2662-9EABF36AD2FF}"/>
              </a:ext>
            </a:extLst>
          </p:cNvPr>
          <p:cNvSpPr/>
          <p:nvPr userDrawn="1"/>
        </p:nvSpPr>
        <p:spPr>
          <a:xfrm rot="5400000">
            <a:off x="15746193" y="7915927"/>
            <a:ext cx="3647202" cy="578738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pPr algn="r"/>
            <a:r>
              <a:rPr lang="de-DE" sz="2700" b="1">
                <a:solidFill>
                  <a:schemeClr val="bg2"/>
                </a:solidFill>
                <a:latin typeface="Arial"/>
                <a:cs typeface="Arial"/>
              </a:rPr>
              <a:t>Erfolgskriterien</a:t>
            </a:r>
            <a:endParaRPr lang="en-US" sz="2700">
              <a:solidFill>
                <a:schemeClr val="bg2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72963893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0713CEF-9EFC-B647-8CD3-E6C7C2D698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9447009"/>
              </p:ext>
            </p:extLst>
          </p:nvPr>
        </p:nvGraphicFramePr>
        <p:xfrm>
          <a:off x="2383" y="2382"/>
          <a:ext cx="1841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0713CEF-9EFC-B647-8CD3-E6C7C2D69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3" y="2382"/>
                        <a:ext cx="1841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9482F3-47FC-F341-9CD0-30108119048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16339" y="2738438"/>
            <a:ext cx="16257407" cy="6527007"/>
          </a:xfrm>
        </p:spPr>
        <p:txBody>
          <a:bodyPr/>
          <a:lstStyle>
            <a:lvl1pPr marL="428625" marR="0" indent="-428625" algn="l" defTabSz="13716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1028700" marR="0" indent="-342900" algn="l" defTabSz="1371600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Symbol" pitchFamily="2" charset="2"/>
              <a:buChar char="-"/>
              <a:tabLst/>
              <a:defRPr sz="2400" baseline="0">
                <a:latin typeface="Arial" panose="020B0604020202020204" pitchFamily="34" charset="0"/>
              </a:defRPr>
            </a:lvl2pPr>
            <a:lvl3pPr marL="1714500" marR="0" indent="-342900" algn="l" defTabSz="1371600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2400" baseline="0">
                <a:latin typeface="Arial" panose="020B0604020202020204" pitchFamily="34" charset="0"/>
              </a:defRPr>
            </a:lvl3pPr>
          </a:lstStyle>
          <a:p>
            <a:pPr marL="428625" marR="0" lvl="0" indent="-428625" algn="l" defTabSz="13716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2700" b="0" i="0" u="none" strike="noStrike" kern="1200" cap="none" spc="0" normalizeH="0" baseline="0" noProof="0">
                <a:ln>
                  <a:noFill/>
                </a:ln>
                <a:solidFill>
                  <a:srgbClr val="00143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ufzählung Ebene 1</a:t>
            </a:r>
          </a:p>
          <a:p>
            <a:pPr marL="1028700" marR="0" lvl="1" indent="-342900" algn="l" defTabSz="1371600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de-DE" sz="2700" b="0" i="0" u="none" strike="noStrike" kern="1200" cap="none" spc="0" normalizeH="0" baseline="0" noProof="0">
                <a:ln>
                  <a:noFill/>
                </a:ln>
                <a:solidFill>
                  <a:srgbClr val="00143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ufzählung Ebene 2</a:t>
            </a:r>
          </a:p>
          <a:p>
            <a:pPr marL="1714500" marR="0" lvl="2" indent="-342900" algn="l" defTabSz="1371600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2400" b="0" i="0" u="none" strike="noStrike" kern="1200" cap="none" spc="0" normalizeH="0" baseline="0" noProof="0">
                <a:ln>
                  <a:noFill/>
                </a:ln>
                <a:solidFill>
                  <a:srgbClr val="00143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ufzählung Ebene 3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i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9" name="Titelplatzhalter 1">
            <a:extLst>
              <a:ext uri="{FF2B5EF4-FFF2-40B4-BE49-F238E27FC236}">
                <a16:creationId xmlns:a16="http://schemas.microsoft.com/office/drawing/2014/main" id="{0C6BFEEB-ECFF-4C48-92FE-312C51CB0D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3328428539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ildfolie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66CFED1-143B-9E49-9973-575F5A85ABD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16339" y="2738438"/>
            <a:ext cx="7830000" cy="6527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979A643-0C58-9640-84A1-E0C560C252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416265" y="2738438"/>
            <a:ext cx="7830000" cy="6527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5AB9844D-1985-F444-A9CB-C8AC8654C7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A60B5758-FCFD-3547-9BC5-99569C1864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7" name="Titelplatzhalter 1">
            <a:extLst>
              <a:ext uri="{FF2B5EF4-FFF2-40B4-BE49-F238E27FC236}">
                <a16:creationId xmlns:a16="http://schemas.microsoft.com/office/drawing/2014/main" id="{3C25E9D5-8FA4-B94E-8C8C-1BB0DC4D69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3325176296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3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ildfolie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66CFED1-143B-9E49-9973-575F5A85ABD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16339" y="2738438"/>
            <a:ext cx="4860000" cy="6527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5AB9844D-1985-F444-A9CB-C8AC8654C7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A60B5758-FCFD-3547-9BC5-99569C1864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70C6C35-A5AF-7D48-AB66-64768F12D452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12413745" y="2738438"/>
            <a:ext cx="4860000" cy="6527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15FF0338-6CCB-CD4C-8FBA-94EB4C882AC9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715041" y="2738438"/>
            <a:ext cx="4860000" cy="6527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itelplatzhalter 1">
            <a:extLst>
              <a:ext uri="{FF2B5EF4-FFF2-40B4-BE49-F238E27FC236}">
                <a16:creationId xmlns:a16="http://schemas.microsoft.com/office/drawing/2014/main" id="{94D9109E-1BE1-8E40-B857-0CCB6654FA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1162988289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ildfolie fre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6" name="Titelplatzhalter 1">
            <a:extLst>
              <a:ext uri="{FF2B5EF4-FFF2-40B4-BE49-F238E27FC236}">
                <a16:creationId xmlns:a16="http://schemas.microsoft.com/office/drawing/2014/main" id="{C86AB5D7-70C7-0C40-AE9F-FC7C5769F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642859803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nfolie einfar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992B6177-4456-F449-8318-048BE26751AA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7739427" y="3744623"/>
            <a:ext cx="9534318" cy="2132613"/>
          </a:xfrm>
        </p:spPr>
        <p:txBody>
          <a:bodyPr numCol="3"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E2CF6811-BA3A-B04A-81AF-A57D8EBC665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016338" y="3740292"/>
            <a:ext cx="5909117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3D583DFE-5EC0-7644-9C2B-E7496DE297F4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1016339" y="2576676"/>
            <a:ext cx="5909115" cy="892040"/>
          </a:xfrm>
          <a:solidFill>
            <a:schemeClr val="tx2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de-DE"/>
              <a:t>TABELLENKOPF 1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A7DA0EE6-554C-E144-BDEA-747833191E4D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1016338" y="4870642"/>
            <a:ext cx="5909117" cy="932684"/>
          </a:xfrm>
        </p:spPr>
        <p:txBody>
          <a:bodyPr>
            <a:normAutofit/>
          </a:bodyPr>
          <a:lstStyle>
            <a:lvl1pPr marL="428625" indent="-428625">
              <a:buFont typeface="Arial" panose="020B0604020202020204" pitchFamily="34" charset="0"/>
              <a:buChar char="•"/>
              <a:defRPr lang="de-DE" sz="2100" b="0" smtClean="0">
                <a:effectLst/>
              </a:defRPr>
            </a:lvl1pPr>
          </a:lstStyle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consetetu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adipscing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lit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,</a:t>
            </a:r>
          </a:p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ed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iam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nonumy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irmod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9CB91872-F8D7-7B45-B6AC-A183F35AD267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1016338" y="6174963"/>
            <a:ext cx="5909117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74B5EAC1-736E-8345-8537-D18CA9F2086C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1016338" y="7305313"/>
            <a:ext cx="5909117" cy="932684"/>
          </a:xfrm>
        </p:spPr>
        <p:txBody>
          <a:bodyPr>
            <a:normAutofit/>
          </a:bodyPr>
          <a:lstStyle>
            <a:lvl1pPr marL="428625" indent="-428625">
              <a:buFont typeface="Arial" panose="020B0604020202020204" pitchFamily="34" charset="0"/>
              <a:buChar char="•"/>
              <a:defRPr lang="de-DE" sz="2100" b="0" smtClean="0">
                <a:effectLst/>
              </a:defRPr>
            </a:lvl1pPr>
          </a:lstStyle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consetetu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adipscing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lit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,</a:t>
            </a:r>
          </a:p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ed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iam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nonumy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irmod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BAB823C7-06D9-D645-A950-6BC8EA871B7C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7739427" y="2576676"/>
            <a:ext cx="9534318" cy="892040"/>
          </a:xfrm>
          <a:solidFill>
            <a:schemeClr val="tx2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de-DE"/>
              <a:t>TABELLENKOPF 2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C0831AA8-1DC1-4A49-A752-EFA72B595A9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7739427" y="6174964"/>
            <a:ext cx="9534318" cy="892040"/>
          </a:xfrm>
          <a:solidFill>
            <a:schemeClr val="tx2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de-DE"/>
              <a:t>TABELLENKOPF 3</a:t>
            </a:r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91CF6938-AB8E-D040-BAA9-46B1A7EB82FC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7739427" y="7364730"/>
            <a:ext cx="9534318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ECC58060-1838-DC42-8727-D88889BEED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4273129493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nfolie mehrfar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992B6177-4456-F449-8318-048BE26751AA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7739427" y="3744623"/>
            <a:ext cx="9534318" cy="2132613"/>
          </a:xfrm>
        </p:spPr>
        <p:txBody>
          <a:bodyPr numCol="3"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E2CF6811-BA3A-B04A-81AF-A57D8EBC665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016338" y="3740292"/>
            <a:ext cx="5909117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3D583DFE-5EC0-7644-9C2B-E7496DE297F4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1016339" y="2576676"/>
            <a:ext cx="5909115" cy="892040"/>
          </a:xfrm>
          <a:solidFill>
            <a:schemeClr val="bg1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 baseline="0">
                <a:solidFill>
                  <a:schemeClr val="bg2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TABELLENKOPF 1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A7DA0EE6-554C-E144-BDEA-747833191E4D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1016338" y="4870642"/>
            <a:ext cx="5909117" cy="932684"/>
          </a:xfrm>
        </p:spPr>
        <p:txBody>
          <a:bodyPr>
            <a:normAutofit/>
          </a:bodyPr>
          <a:lstStyle>
            <a:lvl1pPr marL="428625" indent="-428625">
              <a:buFont typeface="Arial" panose="020B0604020202020204" pitchFamily="34" charset="0"/>
              <a:buChar char="•"/>
              <a:defRPr lang="de-DE" sz="2100" b="0" smtClean="0">
                <a:effectLst/>
              </a:defRPr>
            </a:lvl1pPr>
          </a:lstStyle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consetetu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adipscing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lit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,</a:t>
            </a:r>
          </a:p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ed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iam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nonumy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irmod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9CB91872-F8D7-7B45-B6AC-A183F35AD267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1016338" y="6174963"/>
            <a:ext cx="5909117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74B5EAC1-736E-8345-8537-D18CA9F2086C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1016338" y="7305313"/>
            <a:ext cx="5909117" cy="932684"/>
          </a:xfrm>
        </p:spPr>
        <p:txBody>
          <a:bodyPr>
            <a:normAutofit/>
          </a:bodyPr>
          <a:lstStyle>
            <a:lvl1pPr marL="428625" indent="-428625">
              <a:buFont typeface="Arial" panose="020B0604020202020204" pitchFamily="34" charset="0"/>
              <a:buChar char="•"/>
              <a:defRPr lang="de-DE" sz="2100" b="0" smtClean="0">
                <a:effectLst/>
              </a:defRPr>
            </a:lvl1pPr>
          </a:lstStyle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consetetu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adipscing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lit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,</a:t>
            </a:r>
          </a:p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ed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iam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nonumy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irmod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BAB823C7-06D9-D645-A950-6BC8EA871B7C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7739427" y="2576676"/>
            <a:ext cx="9534318" cy="892040"/>
          </a:xfrm>
          <a:solidFill>
            <a:schemeClr val="accent1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de-DE"/>
              <a:t>TABELLENKOPF 2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C0831AA8-1DC1-4A49-A752-EFA72B595A9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7739427" y="6174964"/>
            <a:ext cx="9534318" cy="892040"/>
          </a:xfrm>
          <a:solidFill>
            <a:schemeClr val="accent2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de-DE"/>
              <a:t>TABELLENKOPF 3</a:t>
            </a:r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91CF6938-AB8E-D040-BAA9-46B1A7EB82FC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7739427" y="7364730"/>
            <a:ext cx="9534318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C88DE74A-C8FD-8049-BD0C-FFC9C123D5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1502428781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folie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8DF3A49-CA83-EF47-B004-F9C5506F77A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44775" y="359766"/>
            <a:ext cx="17558214" cy="9601200"/>
          </a:xfrm>
          <a:solidFill>
            <a:schemeClr val="tx1">
              <a:lumMod val="85000"/>
              <a:alpha val="90000"/>
            </a:schemeClr>
          </a:solidFill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Dunkles Bild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A409F55-F0F7-4B4F-A7D9-7AE141A6A5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0545" y="9324976"/>
            <a:ext cx="10832306" cy="461963"/>
          </a:xfrm>
        </p:spPr>
        <p:txBody>
          <a:bodyPr anchor="b" anchorCtr="0">
            <a:normAutofit/>
          </a:bodyPr>
          <a:lstStyle>
            <a:lvl1pPr marL="0" indent="0">
              <a:buNone/>
              <a:defRPr lang="de-DE" sz="1500" smtClean="0">
                <a:solidFill>
                  <a:schemeClr val="tx1"/>
                </a:solidFill>
                <a:effectLst/>
              </a:defRPr>
            </a:lvl1pPr>
          </a:lstStyle>
          <a:p>
            <a:r>
              <a:rPr lang="de-DE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Quelle: Beispiel für ein dunkles vollflächiges Bild in Anwendung mit dem Logo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FAAE7FF-208F-2043-85E9-9A33928EFA7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158944" y="547689"/>
            <a:ext cx="4244486" cy="1427391"/>
          </a:xfrm>
          <a:prstGeom prst="rect">
            <a:avLst/>
          </a:prstGeom>
        </p:spPr>
      </p:pic>
      <p:sp>
        <p:nvSpPr>
          <p:cNvPr id="6" name="Titelplatzhalter 1">
            <a:extLst>
              <a:ext uri="{FF2B5EF4-FFF2-40B4-BE49-F238E27FC236}">
                <a16:creationId xmlns:a16="http://schemas.microsoft.com/office/drawing/2014/main" id="{26BA3A1E-5EFF-5040-B178-505B1F9D08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502836158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folie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8DF3A49-CA83-EF47-B004-F9C5506F77A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8288000" cy="10287000"/>
          </a:xfrm>
          <a:solidFill>
            <a:schemeClr val="tx1">
              <a:lumMod val="85000"/>
              <a:alpha val="10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Helles Bild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A409F55-F0F7-4B4F-A7D9-7AE141A6A5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0545" y="9324976"/>
            <a:ext cx="10832306" cy="461963"/>
          </a:xfrm>
        </p:spPr>
        <p:txBody>
          <a:bodyPr anchor="b" anchorCtr="0">
            <a:normAutofit/>
          </a:bodyPr>
          <a:lstStyle>
            <a:lvl1pPr marL="0" indent="0">
              <a:buNone/>
              <a:defRPr lang="de-DE" sz="1500" smtClean="0">
                <a:effectLst/>
              </a:defRPr>
            </a:lvl1pPr>
          </a:lstStyle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Quelle: Beispiel für ein dunkles vollflächiges Bild in Anwendung mit dem Logo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A2FB161-2A9F-624D-AE19-35B69F7CF4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42523" y="1018823"/>
            <a:ext cx="3266076" cy="511980"/>
          </a:xfrm>
          <a:prstGeom prst="rect">
            <a:avLst/>
          </a:prstGeom>
        </p:spPr>
      </p:pic>
      <p:sp>
        <p:nvSpPr>
          <p:cNvPr id="5" name="Titelplatzhalter 1">
            <a:extLst>
              <a:ext uri="{FF2B5EF4-FFF2-40B4-BE49-F238E27FC236}">
                <a16:creationId xmlns:a16="http://schemas.microsoft.com/office/drawing/2014/main" id="{F353D9CE-E466-E941-85FA-8E7D10B445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797389181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5A5CFD5E-FAA1-9B40-BF5E-E7A81AF45E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7089708-2BF5-3E42-9F20-F8C62493925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6392" y="4281389"/>
            <a:ext cx="13716000" cy="3581400"/>
          </a:xfrm>
        </p:spPr>
        <p:txBody>
          <a:bodyPr anchor="b">
            <a:normAutofit/>
          </a:bodyPr>
          <a:lstStyle>
            <a:lvl1pPr algn="l">
              <a:defRPr sz="7200" b="1">
                <a:solidFill>
                  <a:schemeClr val="bg2"/>
                </a:solidFill>
              </a:defRPr>
            </a:lvl1pPr>
          </a:lstStyle>
          <a:p>
            <a:r>
              <a:rPr lang="de-DE" b="1">
                <a:effectLst/>
                <a:latin typeface="Arial" panose="020B0604020202020204" pitchFamily="34" charset="0"/>
              </a:rPr>
              <a:t>Titel </a:t>
            </a:r>
            <a:br>
              <a:rPr lang="de-DE" b="1">
                <a:effectLst/>
                <a:latin typeface="Arial" panose="020B0604020202020204" pitchFamily="34" charset="0"/>
              </a:rPr>
            </a:br>
            <a:r>
              <a:rPr lang="de-DE" b="1">
                <a:effectLst/>
                <a:latin typeface="Arial" panose="020B0604020202020204" pitchFamily="34" charset="0"/>
              </a:rPr>
              <a:t>Schlussfolie</a:t>
            </a:r>
            <a:endParaRPr lang="de-DE">
              <a:effectLst/>
              <a:latin typeface="Arial" panose="020B0604020202020204" pitchFamily="34" charset="0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785DB64-CB48-984E-989C-016EEF3E59D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6392" y="8000901"/>
            <a:ext cx="13716000" cy="998835"/>
          </a:xfrm>
        </p:spPr>
        <p:txBody>
          <a:bodyPr>
            <a:normAutofit/>
          </a:bodyPr>
          <a:lstStyle>
            <a:lvl1pPr marL="0" indent="0" algn="l">
              <a:buNone/>
              <a:defRPr lang="de-DE" smtClean="0">
                <a:solidFill>
                  <a:srgbClr val="002060"/>
                </a:solidFill>
                <a:effectLst/>
              </a:defRPr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de-DE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Unterzei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D4BC111-A253-D742-9991-0567A54F209C}"/>
              </a:ext>
            </a:extLst>
          </p:cNvPr>
          <p:cNvSpPr/>
          <p:nvPr userDrawn="1"/>
        </p:nvSpPr>
        <p:spPr>
          <a:xfrm>
            <a:off x="1176392" y="9684692"/>
            <a:ext cx="2954655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100" b="1" err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GermanZero</a:t>
            </a:r>
            <a:r>
              <a:rPr lang="de-DE" sz="2100" b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 e.V.</a:t>
            </a:r>
            <a:r>
              <a:rPr lang="de-DE" sz="2100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 	</a:t>
            </a:r>
            <a:endParaRPr lang="de-DE" sz="2100">
              <a:solidFill>
                <a:schemeClr val="bg2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9A245D2-EB27-A84E-8D3E-AFE05EF08D34}"/>
              </a:ext>
            </a:extLst>
          </p:cNvPr>
          <p:cNvSpPr/>
          <p:nvPr userDrawn="1"/>
        </p:nvSpPr>
        <p:spPr>
          <a:xfrm>
            <a:off x="6872438" y="9684692"/>
            <a:ext cx="10048724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de-DE" sz="2100" err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www.GermanZero.de</a:t>
            </a:r>
            <a:r>
              <a:rPr lang="de-DE" sz="2100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 | </a:t>
            </a:r>
            <a:r>
              <a:rPr lang="de-DE" sz="2100" err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info@GermanZero.de</a:t>
            </a:r>
            <a:r>
              <a:rPr lang="de-DE" sz="2100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 | @_</a:t>
            </a:r>
            <a:r>
              <a:rPr lang="de-DE" sz="2100" err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GermanZero</a:t>
            </a:r>
            <a:r>
              <a:rPr lang="de-DE" sz="2100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 auf </a:t>
            </a:r>
            <a:r>
              <a:rPr lang="de-DE" sz="2100" err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SocialMedia</a:t>
            </a:r>
            <a:endParaRPr lang="de-DE" sz="2100">
              <a:solidFill>
                <a:schemeClr val="bg2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6130310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5A5CFD5E-FAA1-9B40-BF5E-E7A81AF45E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1620905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5A5CFD5E-FAA1-9B40-BF5E-E7A81AF45E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7089708-2BF5-3E42-9F20-F8C62493925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6392" y="4281389"/>
            <a:ext cx="13716000" cy="3581400"/>
          </a:xfrm>
        </p:spPr>
        <p:txBody>
          <a:bodyPr anchor="b">
            <a:normAutofit/>
          </a:bodyPr>
          <a:lstStyle>
            <a:lvl1pPr algn="l">
              <a:defRPr sz="7200" b="1">
                <a:solidFill>
                  <a:srgbClr val="002060"/>
                </a:solidFill>
              </a:defRPr>
            </a:lvl1pPr>
          </a:lstStyle>
          <a:p>
            <a:r>
              <a:rPr lang="de-DE" b="1">
                <a:effectLst/>
                <a:latin typeface="Arial" panose="020B0604020202020204" pitchFamily="34" charset="0"/>
              </a:rPr>
              <a:t>Titel </a:t>
            </a:r>
            <a:br>
              <a:rPr lang="de-DE" b="1">
                <a:effectLst/>
                <a:latin typeface="Arial" panose="020B0604020202020204" pitchFamily="34" charset="0"/>
              </a:rPr>
            </a:br>
            <a:r>
              <a:rPr lang="de-DE" b="1">
                <a:effectLst/>
                <a:latin typeface="Arial" panose="020B0604020202020204" pitchFamily="34" charset="0"/>
              </a:rPr>
              <a:t>Schlussfolie</a:t>
            </a:r>
            <a:endParaRPr lang="de-DE">
              <a:effectLst/>
              <a:latin typeface="Arial" panose="020B0604020202020204" pitchFamily="34" charset="0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785DB64-CB48-984E-989C-016EEF3E59D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6392" y="8000901"/>
            <a:ext cx="13716000" cy="998835"/>
          </a:xfrm>
        </p:spPr>
        <p:txBody>
          <a:bodyPr>
            <a:normAutofit/>
          </a:bodyPr>
          <a:lstStyle>
            <a:lvl1pPr marL="0" indent="0" algn="l">
              <a:buNone/>
              <a:defRPr lang="de-DE" smtClean="0">
                <a:solidFill>
                  <a:srgbClr val="002060"/>
                </a:solidFill>
                <a:effectLst/>
              </a:defRPr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de-DE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Unterzei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D4BC111-A253-D742-9991-0567A54F209C}"/>
              </a:ext>
            </a:extLst>
          </p:cNvPr>
          <p:cNvSpPr/>
          <p:nvPr userDrawn="1"/>
        </p:nvSpPr>
        <p:spPr>
          <a:xfrm>
            <a:off x="1176392" y="9684692"/>
            <a:ext cx="2954655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100" b="1" err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GermanZero</a:t>
            </a:r>
            <a:r>
              <a:rPr lang="de-DE" sz="2100" b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 e.V.</a:t>
            </a:r>
            <a:r>
              <a:rPr lang="de-DE" sz="2100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 	</a:t>
            </a:r>
            <a:endParaRPr lang="de-DE" sz="2100">
              <a:solidFill>
                <a:srgbClr val="002060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9A245D2-EB27-A84E-8D3E-AFE05EF08D34}"/>
              </a:ext>
            </a:extLst>
          </p:cNvPr>
          <p:cNvSpPr/>
          <p:nvPr userDrawn="1"/>
        </p:nvSpPr>
        <p:spPr>
          <a:xfrm>
            <a:off x="6872438" y="9684692"/>
            <a:ext cx="10048724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de-DE" sz="2100" err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www.GermanZero.de</a:t>
            </a:r>
            <a:r>
              <a:rPr lang="de-DE" sz="2100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 | </a:t>
            </a:r>
            <a:r>
              <a:rPr lang="de-DE" sz="2100" err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info@GermanZero.de</a:t>
            </a:r>
            <a:r>
              <a:rPr lang="de-DE" sz="2100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 | @_</a:t>
            </a:r>
            <a:r>
              <a:rPr lang="de-DE" sz="2100" err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GermanZero</a:t>
            </a:r>
            <a:r>
              <a:rPr lang="de-DE" sz="2100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 auf </a:t>
            </a:r>
            <a:r>
              <a:rPr lang="de-DE" sz="2100" err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SocialMedia</a:t>
            </a:r>
            <a:endParaRPr lang="de-DE" sz="2100">
              <a:solidFill>
                <a:srgbClr val="002060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0928683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mensschild dunke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>
            <a:extLst>
              <a:ext uri="{FF2B5EF4-FFF2-40B4-BE49-F238E27FC236}">
                <a16:creationId xmlns:a16="http://schemas.microsoft.com/office/drawing/2014/main" id="{C55A511F-315F-C340-BD8B-8AE029B862BD}"/>
              </a:ext>
            </a:extLst>
          </p:cNvPr>
          <p:cNvSpPr txBox="1">
            <a:spLocks/>
          </p:cNvSpPr>
          <p:nvPr userDrawn="1"/>
        </p:nvSpPr>
        <p:spPr>
          <a:xfrm>
            <a:off x="714587" y="3534294"/>
            <a:ext cx="17047634" cy="5257662"/>
          </a:xfrm>
          <a:prstGeom prst="rect">
            <a:avLst/>
          </a:prstGeom>
        </p:spPr>
        <p:txBody>
          <a:bodyPr vert="horz" lIns="137160" tIns="68580" rIns="137160" bIns="6858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2000" b="1">
                <a:solidFill>
                  <a:srgbClr val="002060"/>
                </a:solidFill>
              </a:rPr>
              <a:t>Vorname Nachname </a:t>
            </a:r>
          </a:p>
          <a:p>
            <a:r>
              <a:rPr lang="de-DE" sz="12000" b="1">
                <a:solidFill>
                  <a:srgbClr val="002060"/>
                </a:solidFill>
              </a:rPr>
              <a:t>Arial 80 fet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B6426EF-1B3D-9943-BF06-7D7DC2FC2B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42523" y="1018823"/>
            <a:ext cx="3266076" cy="511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0088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3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agramm Kreis Typ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F8C62A-4B23-CE45-B7AA-54E9CA5DA9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9" y="-332898"/>
            <a:ext cx="12268148" cy="198834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Diagrammtyp weiß auf gelb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1" smtClean="0">
                <a:solidFill>
                  <a:schemeClr val="bg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55D0E25-9961-8043-AA46-3AC558D78E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158944" y="547689"/>
            <a:ext cx="4244486" cy="1427391"/>
          </a:xfrm>
          <a:prstGeom prst="rect">
            <a:avLst/>
          </a:prstGeom>
        </p:spPr>
      </p:pic>
      <p:sp>
        <p:nvSpPr>
          <p:cNvPr id="9" name="Inhaltsplatzhalter 3">
            <a:extLst>
              <a:ext uri="{FF2B5EF4-FFF2-40B4-BE49-F238E27FC236}">
                <a16:creationId xmlns:a16="http://schemas.microsoft.com/office/drawing/2014/main" id="{DF168C96-70C0-F34C-A975-633C6C126D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416265" y="2738438"/>
            <a:ext cx="7830000" cy="6527007"/>
          </a:xfrm>
        </p:spPr>
        <p:txBody>
          <a:bodyPr/>
          <a:lstStyle>
            <a:lvl1pPr marL="428625" indent="-428625">
              <a:buFont typeface="Arial" panose="020B0604020202020204" pitchFamily="34" charset="0"/>
              <a:buChar char="•"/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Mastertextformat bearbeiten</a:t>
            </a:r>
          </a:p>
          <a:p>
            <a:r>
              <a:rPr lang="de-DE"/>
              <a:t>Zweite Ebene
Dritte Ebene</a:t>
            </a:r>
          </a:p>
        </p:txBody>
      </p:sp>
    </p:spTree>
    <p:extLst>
      <p:ext uri="{BB962C8B-B14F-4D97-AF65-F5344CB8AC3E}">
        <p14:creationId xmlns:p14="http://schemas.microsoft.com/office/powerpoint/2010/main" val="100226006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li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6" name="Titelplatzhalter 1">
            <a:extLst>
              <a:ext uri="{FF2B5EF4-FFF2-40B4-BE49-F238E27FC236}">
                <a16:creationId xmlns:a16="http://schemas.microsoft.com/office/drawing/2014/main" id="{C86AB5D7-70C7-0C40-AE9F-FC7C5769F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35734423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30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30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30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30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30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30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4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/3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7474225-EF49-6348-8C26-43C1B6383A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941841689"/>
              </p:ext>
            </p:extLst>
          </p:nvPr>
        </p:nvGraphicFramePr>
        <p:xfrm>
          <a:off x="2383" y="2382"/>
          <a:ext cx="1841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7772400" imgH="10058400" progId="TCLayout.ActiveDocument.1">
                  <p:embed/>
                </p:oleObj>
              </mc:Choice>
              <mc:Fallback>
                <p:oleObj name="think-cell Folie" r:id="rId23" imgW="7772400" imgH="1005840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7474225-EF49-6348-8C26-43C1B6383A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383" y="2382"/>
                        <a:ext cx="1841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41E4E78-D2FB-3C4E-8A7C-9A37C9024A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6940A25-EF3D-C84E-A40B-ED09A649A6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16338" y="2738438"/>
            <a:ext cx="15890123" cy="65270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Aufzählung Ebene 1</a:t>
            </a:r>
          </a:p>
          <a:p>
            <a:pPr lvl="1">
              <a:buFont typeface="Symbol" pitchFamily="2" charset="2"/>
              <a:buChar char="-"/>
            </a:pPr>
            <a:r>
              <a:rPr lang="de-DE"/>
              <a:t>Aufzählung Ebene 2</a:t>
            </a:r>
          </a:p>
          <a:p>
            <a:pPr lvl="2">
              <a:buFont typeface="Wingdings" pitchFamily="2" charset="2"/>
              <a:buChar char="§"/>
            </a:pPr>
            <a:r>
              <a:rPr lang="de-DE"/>
              <a:t>Aufzählung Ebene 3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233BDC-86F5-7449-BC8F-7F298F4C1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Rahmenstrategie 2021 - Name Referent*i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9A5F7AE-597D-E04B-8DFD-F573619ABB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06363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//XX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98F67B18-44D9-150C-A90C-80E42671A3B2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158944" y="662091"/>
            <a:ext cx="4244486" cy="1198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26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</p:sldLayoutIdLst>
  <p:hf hdr="0" ftr="0" dt="0"/>
  <p:txStyles>
    <p:titleStyle>
      <a:lvl1pPr algn="l" defTabSz="1371600" rtl="0" eaLnBrk="1" latinLnBrk="0" hangingPunct="1">
        <a:lnSpc>
          <a:spcPct val="90000"/>
        </a:lnSpc>
        <a:spcBef>
          <a:spcPct val="0"/>
        </a:spcBef>
        <a:buNone/>
        <a:defRPr sz="3600" b="0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428625" indent="-428625" algn="l" defTabSz="1371600" rtl="0" eaLnBrk="1" latinLnBrk="0" hangingPunct="1">
        <a:lnSpc>
          <a:spcPct val="110000"/>
        </a:lnSpc>
        <a:spcBef>
          <a:spcPts val="1500"/>
        </a:spcBef>
        <a:buFont typeface="Arial" panose="020B0604020202020204" pitchFamily="34" charset="0"/>
        <a:buChar char="•"/>
        <a:defRPr sz="27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028700" indent="-342900" algn="l" defTabSz="1371600" rtl="0" eaLnBrk="1" latinLnBrk="0" hangingPunct="1">
        <a:lnSpc>
          <a:spcPct val="110000"/>
        </a:lnSpc>
        <a:spcBef>
          <a:spcPts val="750"/>
        </a:spcBef>
        <a:buFont typeface="Arial" panose="020B0604020202020204" pitchFamily="34" charset="0"/>
        <a:buChar char="•"/>
        <a:defRPr sz="27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714500" indent="-342900" algn="l" defTabSz="1371600" rtl="0" eaLnBrk="1" latinLnBrk="0" hangingPunct="1">
        <a:lnSpc>
          <a:spcPct val="110000"/>
        </a:lnSpc>
        <a:spcBef>
          <a:spcPts val="750"/>
        </a:spcBef>
        <a:buFont typeface="Arial" panose="020B0604020202020204" pitchFamily="34" charset="0"/>
        <a:buChar char="•"/>
        <a:defRPr sz="24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2400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30861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7719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595">
          <p15:clr>
            <a:srgbClr val="F26B43"/>
          </p15:clr>
        </p15:guide>
        <p15:guide id="4" pos="710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annheim.de/de/stadt-gestalten/planungskonzepte/flaechennutzungsplanung/flaechennutzungsplan-windenergie" TargetMode="External"/><Relationship Id="rId13" Type="http://schemas.openxmlformats.org/officeDocument/2006/relationships/hyperlink" Target="https://www.go-clever-mobil.de/" TargetMode="External"/><Relationship Id="rId3" Type="http://schemas.openxmlformats.org/officeDocument/2006/relationships/image" Target="../media/image13.png"/><Relationship Id="rId7" Type="http://schemas.openxmlformats.org/officeDocument/2006/relationships/hyperlink" Target="https://www.umweltbundesamt.de/themen/verkehr/nachhaltige-mobilitaet/mobilitaetsmanagement#akteure" TargetMode="External"/><Relationship Id="rId12" Type="http://schemas.openxmlformats.org/officeDocument/2006/relationships/image" Target="../media/image18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mmons.wikimedia.org/wiki/File:Trams_in_Dresden_-_panoramio.jpg" TargetMode="External"/><Relationship Id="rId11" Type="http://schemas.openxmlformats.org/officeDocument/2006/relationships/image" Target="../media/image17.png"/><Relationship Id="rId5" Type="http://schemas.openxmlformats.org/officeDocument/2006/relationships/hyperlink" Target="https://commons.wikimedia.org/wiki/File:Hannah-Lastenrad,_stationiert_am_Rathaus_Langenhagen.jpg" TargetMode="External"/><Relationship Id="rId10" Type="http://schemas.openxmlformats.org/officeDocument/2006/relationships/image" Target="../media/image15.svg"/><Relationship Id="rId4" Type="http://schemas.openxmlformats.org/officeDocument/2006/relationships/image" Target="../media/image25.jpeg"/><Relationship Id="rId9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annheim.de/de/stadt-gestalten/planungskonzepte/flaechennutzungsplanung/flaechennutzungsplan-windenergie" TargetMode="External"/><Relationship Id="rId3" Type="http://schemas.openxmlformats.org/officeDocument/2006/relationships/image" Target="../media/image13.png"/><Relationship Id="rId7" Type="http://schemas.openxmlformats.org/officeDocument/2006/relationships/hyperlink" Target="https://www.denzlingen.de/de/aktuelles/show.php?id=330" TargetMode="External"/><Relationship Id="rId12" Type="http://schemas.openxmlformats.org/officeDocument/2006/relationships/image" Target="../media/image18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mmons.wikimedia.org/wiki/File:Trams_in_Dresden_-_panoramio.jpg" TargetMode="External"/><Relationship Id="rId11" Type="http://schemas.openxmlformats.org/officeDocument/2006/relationships/image" Target="../media/image17.png"/><Relationship Id="rId5" Type="http://schemas.openxmlformats.org/officeDocument/2006/relationships/hyperlink" Target="https://commons.wikimedia.org/wiki/File:Someone_handing_a_key_over.jpg" TargetMode="External"/><Relationship Id="rId10" Type="http://schemas.openxmlformats.org/officeDocument/2006/relationships/image" Target="../media/image15.svg"/><Relationship Id="rId4" Type="http://schemas.openxmlformats.org/officeDocument/2006/relationships/image" Target="../media/image26.jpeg"/><Relationship Id="rId9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annheim.de/de/stadt-gestalten/planungskonzepte/flaechennutzungsplanung/flaechennutzungsplan-windenergie" TargetMode="External"/><Relationship Id="rId13" Type="http://schemas.openxmlformats.org/officeDocument/2006/relationships/hyperlink" Target="https://buchholz-stadtwerke.de/e-mobilitaet.html" TargetMode="External"/><Relationship Id="rId3" Type="http://schemas.openxmlformats.org/officeDocument/2006/relationships/image" Target="../media/image13.png"/><Relationship Id="rId7" Type="http://schemas.openxmlformats.org/officeDocument/2006/relationships/hyperlink" Target="https://www.elektromobilitaet.nrw/fileadmin/Daten/Download_Dokumente/Kommunen/Broschuere_Aufbau_oeffent_Ladeinfrastruktur_ElektroMobilitaet_NRW.pdf" TargetMode="External"/><Relationship Id="rId12" Type="http://schemas.openxmlformats.org/officeDocument/2006/relationships/image" Target="../media/image18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mmons.wikimedia.org/wiki/File:Car2Go_Charging_Station_Stuttgart_2013_01.jpg" TargetMode="External"/><Relationship Id="rId11" Type="http://schemas.openxmlformats.org/officeDocument/2006/relationships/image" Target="../media/image17.png"/><Relationship Id="rId5" Type="http://schemas.openxmlformats.org/officeDocument/2006/relationships/hyperlink" Target="https://commons.wikimedia.org/wiki/File:Princes_Dock_Street_Parklets,_Kingston_upon_Hull,_Oct23_02.jpg" TargetMode="External"/><Relationship Id="rId10" Type="http://schemas.openxmlformats.org/officeDocument/2006/relationships/image" Target="../media/image15.svg"/><Relationship Id="rId4" Type="http://schemas.openxmlformats.org/officeDocument/2006/relationships/image" Target="../media/image27.jpeg"/><Relationship Id="rId9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umweltbundesamt.de/sites/default/files/medien/1410/publikationen/2022-12-15_cc_04-2022_klimaschutzpotenziale_in_kommunen.pdf" TargetMode="External"/><Relationship Id="rId3" Type="http://schemas.openxmlformats.org/officeDocument/2006/relationships/image" Target="../media/image13.png"/><Relationship Id="rId7" Type="http://schemas.openxmlformats.org/officeDocument/2006/relationships/hyperlink" Target="https://commons.wikimedia.org/wiki/File:Trams_in_Dresden_-_panoramio.jpg" TargetMode="External"/><Relationship Id="rId12" Type="http://schemas.openxmlformats.org/officeDocument/2006/relationships/hyperlink" Target="https://www.marburg.de/portal/seiten/move-35-marburg-bewegen-900002325-23001.html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jpeg"/><Relationship Id="rId11" Type="http://schemas.openxmlformats.org/officeDocument/2006/relationships/image" Target="../media/image18.svg"/><Relationship Id="rId5" Type="http://schemas.openxmlformats.org/officeDocument/2006/relationships/image" Target="../media/image15.svg"/><Relationship Id="rId10" Type="http://schemas.openxmlformats.org/officeDocument/2006/relationships/image" Target="../media/image17.png"/><Relationship Id="rId4" Type="http://schemas.openxmlformats.org/officeDocument/2006/relationships/image" Target="../media/image14.png"/><Relationship Id="rId9" Type="http://schemas.openxmlformats.org/officeDocument/2006/relationships/hyperlink" Target="https://www.mannheim.de/de/stadt-gestalten/planungskonzepte/flaechennutzungsplanung/flaechennutzungsplan-windenergie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lebenswerte-staedte.de/de/die-initiative.html" TargetMode="External"/><Relationship Id="rId3" Type="http://schemas.openxmlformats.org/officeDocument/2006/relationships/image" Target="../media/image13.png"/><Relationship Id="rId7" Type="http://schemas.openxmlformats.org/officeDocument/2006/relationships/hyperlink" Target="https://commons.wikimedia.org/wiki/File:Tempo_30_Zone_-_03.jpg" TargetMode="External"/><Relationship Id="rId12" Type="http://schemas.openxmlformats.org/officeDocument/2006/relationships/hyperlink" Target="https://www.marburg.de/portal/seiten/move-35-marburg-bewegen-900002325-23001.html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.jpeg"/><Relationship Id="rId11" Type="http://schemas.openxmlformats.org/officeDocument/2006/relationships/image" Target="../media/image18.svg"/><Relationship Id="rId5" Type="http://schemas.openxmlformats.org/officeDocument/2006/relationships/image" Target="../media/image15.svg"/><Relationship Id="rId10" Type="http://schemas.openxmlformats.org/officeDocument/2006/relationships/image" Target="../media/image17.png"/><Relationship Id="rId4" Type="http://schemas.openxmlformats.org/officeDocument/2006/relationships/image" Target="../media/image14.png"/><Relationship Id="rId9" Type="http://schemas.openxmlformats.org/officeDocument/2006/relationships/hyperlink" Target="https://www.mannheim.de/de/stadt-gestalten/planungskonzepte/flaechennutzungsplanung/flaechennutzungsplan-windenergie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umweltbundesamt.de/sites/default/files/medien/1410/publikationen/2022-12-15_cc_04-2022_klimaschutzpotenziale_in_kommunen.pdf" TargetMode="External"/><Relationship Id="rId3" Type="http://schemas.openxmlformats.org/officeDocument/2006/relationships/image" Target="../media/image13.png"/><Relationship Id="rId7" Type="http://schemas.openxmlformats.org/officeDocument/2006/relationships/hyperlink" Target="https://commons.wikimedia.org/wiki/File:Radweg_am_Bodanr%C3%BCck.jpg" TargetMode="External"/><Relationship Id="rId12" Type="http://schemas.openxmlformats.org/officeDocument/2006/relationships/hyperlink" Target="https://www.hannover.de/Leben-in-der-Region-Hannover/Politik/B%C3%BCrgerbeteiligung-Engagement/Innenstadtdialog-Hannover/Mobilit%C3%A4tskonzept-Innenstadt/Integriertes-Mobilit%C3%A4tskonzept-Innenstadt-Hannover-2030/Radverkehr-erh%C3%A4lt-mehr-Raum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.jpeg"/><Relationship Id="rId11" Type="http://schemas.openxmlformats.org/officeDocument/2006/relationships/image" Target="../media/image18.svg"/><Relationship Id="rId5" Type="http://schemas.openxmlformats.org/officeDocument/2006/relationships/image" Target="../media/image15.svg"/><Relationship Id="rId10" Type="http://schemas.openxmlformats.org/officeDocument/2006/relationships/image" Target="../media/image17.png"/><Relationship Id="rId4" Type="http://schemas.openxmlformats.org/officeDocument/2006/relationships/image" Target="../media/image14.png"/><Relationship Id="rId9" Type="http://schemas.openxmlformats.org/officeDocument/2006/relationships/hyperlink" Target="https://www.mannheim.de/de/stadt-gestalten/planungskonzepte/flaechennutzungsplanung/flaechennutzungsplan-windenergie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3.png"/><Relationship Id="rId7" Type="http://schemas.openxmlformats.org/officeDocument/2006/relationships/hyperlink" Target="https://www.mannheim.de/de/stadt-gestalten/planungskonzepte/flaechennutzungsplanung/flaechennutzungsplan-windenergie" TargetMode="External"/><Relationship Id="rId12" Type="http://schemas.openxmlformats.org/officeDocument/2006/relationships/hyperlink" Target="https://www.hannover.de/Leben-in-der-Region-Hannover/Politik/B%C3%BCrgerbeteiligung-Engagement/Innenstadtdialog-Hannover/Mobilit%C3%A4tskonzept-Innenstadt/Integriertes-Mobilit%C3%A4tskonzept-Innenstadt-Hannover-2030/%C3%96PNV-wird-zuverl%C3%A4ssiger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www.umweltbundesamt.de/sites/default/files/medien/1410/publikationen/2022-12-15_cc_04-2022_klimaschutzpotenziale_in_kommunen.pdf" TargetMode="External"/><Relationship Id="rId11" Type="http://schemas.openxmlformats.org/officeDocument/2006/relationships/image" Target="../media/image18.svg"/><Relationship Id="rId5" Type="http://schemas.openxmlformats.org/officeDocument/2006/relationships/hyperlink" Target="https://commons.wikimedia.org/wiki/File:EVAG_O530_3413_Holthuser_Tal.jpg" TargetMode="External"/><Relationship Id="rId10" Type="http://schemas.openxmlformats.org/officeDocument/2006/relationships/image" Target="../media/image17.png"/><Relationship Id="rId4" Type="http://schemas.openxmlformats.org/officeDocument/2006/relationships/image" Target="../media/image21.jpeg"/><Relationship Id="rId9" Type="http://schemas.openxmlformats.org/officeDocument/2006/relationships/image" Target="../media/image15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3.png"/><Relationship Id="rId7" Type="http://schemas.openxmlformats.org/officeDocument/2006/relationships/hyperlink" Target="https://www.mannheim.de/de/stadt-gestalten/planungskonzepte/flaechennutzungsplanung/flaechennutzungsplan-windenergie" TargetMode="External"/><Relationship Id="rId12" Type="http://schemas.openxmlformats.org/officeDocument/2006/relationships/hyperlink" Target="https://www.dortmund.de/newsroom/nachrichten/dsw21-geht-mit-dem-stromfahrer-projekt-auf-die-zielgerade.html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www.umweltbundesamt.de/sites/default/files/medien/1410/publikationen/2022-12-15_cc_04-2022_klimaschutzpotenziale_in_kommunen.pdf" TargetMode="External"/><Relationship Id="rId11" Type="http://schemas.openxmlformats.org/officeDocument/2006/relationships/image" Target="../media/image18.svg"/><Relationship Id="rId5" Type="http://schemas.openxmlformats.org/officeDocument/2006/relationships/hyperlink" Target="https://commons.wikimedia.org/wiki/File:Electric_bus_(2022).jpg" TargetMode="External"/><Relationship Id="rId10" Type="http://schemas.openxmlformats.org/officeDocument/2006/relationships/image" Target="../media/image17.png"/><Relationship Id="rId4" Type="http://schemas.openxmlformats.org/officeDocument/2006/relationships/image" Target="../media/image22.jpeg"/><Relationship Id="rId9" Type="http://schemas.openxmlformats.org/officeDocument/2006/relationships/image" Target="../media/image15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umweltbundesamt.de/sites/default/files/medien/1410/publikationen/2022-12-15_cc_04-2022_klimaschutzpotenziale_in_kommunen.pdf" TargetMode="External"/><Relationship Id="rId3" Type="http://schemas.openxmlformats.org/officeDocument/2006/relationships/image" Target="../media/image13.png"/><Relationship Id="rId7" Type="http://schemas.openxmlformats.org/officeDocument/2006/relationships/hyperlink" Target="https://commons.wikimedia.org/wiki/File:Princes_Dock_Street_Parklets,_Kingston_upon_Hull,_Oct23_02.jpg" TargetMode="External"/><Relationship Id="rId12" Type="http://schemas.openxmlformats.org/officeDocument/2006/relationships/hyperlink" Target="https://buchholzzero.de/wp-content/uploads/Anlage5zruDS173_KAP_Buchholz_AP5_Massnahmenpla.pdf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3.jpeg"/><Relationship Id="rId11" Type="http://schemas.openxmlformats.org/officeDocument/2006/relationships/image" Target="../media/image18.svg"/><Relationship Id="rId5" Type="http://schemas.openxmlformats.org/officeDocument/2006/relationships/image" Target="../media/image15.svg"/><Relationship Id="rId10" Type="http://schemas.openxmlformats.org/officeDocument/2006/relationships/image" Target="../media/image17.png"/><Relationship Id="rId4" Type="http://schemas.openxmlformats.org/officeDocument/2006/relationships/image" Target="../media/image14.png"/><Relationship Id="rId9" Type="http://schemas.openxmlformats.org/officeDocument/2006/relationships/hyperlink" Target="https://www.mannheim.de/de/stadt-gestalten/planungskonzepte/flaechennutzungsplanung/flaechennutzungsplan-windenergie" TargetMode="Externa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annheim.de/de/stadt-gestalten/planungskonzepte/flaechennutzungsplanung/flaechennutzungsplan-windenergie" TargetMode="External"/><Relationship Id="rId13" Type="http://schemas.openxmlformats.org/officeDocument/2006/relationships/hyperlink" Target="https://buchholzzero.de/wp-content/uploads/Anlage5zruDS173_KAP_Buchholz_AP5_Massnahmenpla.pdf" TargetMode="External"/><Relationship Id="rId3" Type="http://schemas.openxmlformats.org/officeDocument/2006/relationships/image" Target="../media/image13.png"/><Relationship Id="rId7" Type="http://schemas.openxmlformats.org/officeDocument/2006/relationships/hyperlink" Target="https://www.umweltbundesamt.de/sites/default/files/medien/1410/publikationen/2022-12-15_cc_04-2022_klimaschutzpotenziale_in_kommunen.pdf" TargetMode="External"/><Relationship Id="rId12" Type="http://schemas.openxmlformats.org/officeDocument/2006/relationships/image" Target="../media/image18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mmons.wikimedia.org/wiki/File:Trams_in_Dresden_-_panoramio.jpg" TargetMode="External"/><Relationship Id="rId11" Type="http://schemas.openxmlformats.org/officeDocument/2006/relationships/image" Target="../media/image17.png"/><Relationship Id="rId5" Type="http://schemas.openxmlformats.org/officeDocument/2006/relationships/hyperlink" Target="https://commons.wikimedia.org/wiki/File:CARUSO_Carsharing_Flotte.jpg" TargetMode="External"/><Relationship Id="rId10" Type="http://schemas.openxmlformats.org/officeDocument/2006/relationships/image" Target="../media/image15.svg"/><Relationship Id="rId4" Type="http://schemas.openxmlformats.org/officeDocument/2006/relationships/image" Target="../media/image24.jpeg"/><Relationship Id="rId9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958DE3F4-531E-B80B-2C92-DFF4C68D8E9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de-DE"/>
              <a:t>LocalZero Top-Maßnahmen Verkehr</a:t>
            </a:r>
          </a:p>
        </p:txBody>
      </p:sp>
    </p:spTree>
    <p:extLst>
      <p:ext uri="{BB962C8B-B14F-4D97-AF65-F5344CB8AC3E}">
        <p14:creationId xmlns:p14="http://schemas.microsoft.com/office/powerpoint/2010/main" val="35842986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" name="AutoShape 3"/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" name="AutoShape 4"/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5" name="Freeform 5"/>
          <p:cNvSpPr/>
          <p:nvPr/>
        </p:nvSpPr>
        <p:spPr>
          <a:xfrm>
            <a:off x="912280" y="558004"/>
            <a:ext cx="1723804" cy="1062022"/>
          </a:xfrm>
          <a:custGeom>
            <a:avLst/>
            <a:gdLst/>
            <a:ahLst/>
            <a:cxnLst/>
            <a:rect l="l" t="t" r="r" b="b"/>
            <a:pathLst>
              <a:path w="1723804" h="1062022">
                <a:moveTo>
                  <a:pt x="0" y="0"/>
                </a:moveTo>
                <a:lnTo>
                  <a:pt x="1723804" y="0"/>
                </a:lnTo>
                <a:lnTo>
                  <a:pt x="1723804" y="1062022"/>
                </a:lnTo>
                <a:lnTo>
                  <a:pt x="0" y="1062022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6" name="Group 6"/>
          <p:cNvGrpSpPr/>
          <p:nvPr/>
        </p:nvGrpSpPr>
        <p:grpSpPr>
          <a:xfrm>
            <a:off x="743429" y="1620026"/>
            <a:ext cx="2016937" cy="339603"/>
            <a:chOff x="0" y="0"/>
            <a:chExt cx="2689249" cy="452804"/>
          </a:xfrm>
        </p:grpSpPr>
        <p:grpSp>
          <p:nvGrpSpPr>
            <p:cNvPr id="7" name="Group 7"/>
            <p:cNvGrpSpPr/>
            <p:nvPr/>
          </p:nvGrpSpPr>
          <p:grpSpPr>
            <a:xfrm>
              <a:off x="0" y="0"/>
              <a:ext cx="2689249" cy="452804"/>
              <a:chOff x="0" y="0"/>
              <a:chExt cx="747014" cy="125779"/>
            </a:xfrm>
          </p:grpSpPr>
          <p:sp>
            <p:nvSpPr>
              <p:cNvPr id="8" name="Freeform 8"/>
              <p:cNvSpPr/>
              <p:nvPr/>
            </p:nvSpPr>
            <p:spPr>
              <a:xfrm>
                <a:off x="0" y="0"/>
                <a:ext cx="747014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747014" h="125779">
                    <a:moveTo>
                      <a:pt x="0" y="0"/>
                    </a:moveTo>
                    <a:lnTo>
                      <a:pt x="747014" y="0"/>
                    </a:lnTo>
                    <a:lnTo>
                      <a:pt x="747014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" name="TextBox 9"/>
              <p:cNvSpPr txBox="1"/>
              <p:nvPr/>
            </p:nvSpPr>
            <p:spPr>
              <a:xfrm>
                <a:off x="0" y="-114300"/>
                <a:ext cx="747014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10" name="TextBox 10"/>
            <p:cNvSpPr txBox="1"/>
            <p:nvPr/>
          </p:nvSpPr>
          <p:spPr>
            <a:xfrm>
              <a:off x="65038" y="18756"/>
              <a:ext cx="2559172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 dirty="0" err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Verkehrssektor</a:t>
              </a:r>
              <a:endParaRPr lang="en-US" sz="1799" b="1" dirty="0">
                <a:solidFill>
                  <a:srgbClr val="FFC80C"/>
                </a:solidFill>
                <a:latin typeface="Open Sans Bold"/>
                <a:ea typeface="Open Sans Bold"/>
                <a:cs typeface="Open Sans Bold"/>
                <a:sym typeface="Open Sans Bold"/>
              </a:endParaRPr>
            </a:p>
          </p:txBody>
        </p:sp>
      </p:grpSp>
      <p:sp>
        <p:nvSpPr>
          <p:cNvPr id="11" name="Freeform 11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5" name="Group 35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6" name="Freeform 36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45" name="TextBox 45"/>
          <p:cNvSpPr txBox="1"/>
          <p:nvPr/>
        </p:nvSpPr>
        <p:spPr>
          <a:xfrm>
            <a:off x="517221" y="2150128"/>
            <a:ext cx="12409180" cy="266643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nternehmen und </a:t>
            </a:r>
            <a:r>
              <a:rPr lang="de-DE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rbeitgeber:innen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haben großen Einfluss darauf, wie die Angestellten zur Arbeit kommen. Die Verwaltung kann einen umweltfreundlichen Arbeitsweg unterstützen,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ndem sie die Unternehmen beim betrieblichen Mobilitätsmanagement unterstützt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Dazu gehört z.B.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rstellung einer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obilitätsanalyse der </a:t>
            </a:r>
            <a:r>
              <a:rPr lang="de-DE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itarbeiter:innen</a:t>
            </a:r>
            <a:endParaRPr lang="de-DE" sz="1899" b="1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efinition von Zielen und Maßnahmen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nd Wirkungstestung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richtung von Optionen zum Umstieg bzw. Verkehrsreduktion: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Betriebsräder, </a:t>
            </a:r>
            <a:r>
              <a:rPr lang="de-DE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CarPooling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Jobtickets, Ermöglichung von Home Office etc. </a:t>
            </a:r>
          </a:p>
        </p:txBody>
      </p:sp>
      <p:sp>
        <p:nvSpPr>
          <p:cNvPr id="46" name="TextBox 46"/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</a:p>
        </p:txBody>
      </p:sp>
      <p:sp>
        <p:nvSpPr>
          <p:cNvPr id="47" name="TextBox 47"/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 Akteure</a:t>
            </a:r>
          </a:p>
        </p:txBody>
      </p:sp>
      <p:sp>
        <p:nvSpPr>
          <p:cNvPr id="49" name="TextBox 49"/>
          <p:cNvSpPr txBox="1"/>
          <p:nvPr/>
        </p:nvSpPr>
        <p:spPr>
          <a:xfrm>
            <a:off x="13469326" y="6989092"/>
            <a:ext cx="4203003" cy="228171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olitischer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schluss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meindera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(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nkl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öchter-unternehm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)</a:t>
            </a: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lanung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waltung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führung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tadtwerk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od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nternehm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50" name="TextBox 50"/>
          <p:cNvSpPr txBox="1"/>
          <p:nvPr/>
        </p:nvSpPr>
        <p:spPr>
          <a:xfrm>
            <a:off x="16764000" y="9541473"/>
            <a:ext cx="1040387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9</a:t>
            </a:r>
          </a:p>
        </p:txBody>
      </p:sp>
      <p:sp>
        <p:nvSpPr>
          <p:cNvPr id="51" name="TextBox 51"/>
          <p:cNvSpPr txBox="1"/>
          <p:nvPr/>
        </p:nvSpPr>
        <p:spPr>
          <a:xfrm>
            <a:off x="13636773" y="5715305"/>
            <a:ext cx="4035556" cy="4515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Lastenrad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tationiert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am Rathaus</a:t>
            </a:r>
          </a:p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kimedia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Commons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56" name="Group 49">
            <a:extLst>
              <a:ext uri="{FF2B5EF4-FFF2-40B4-BE49-F238E27FC236}">
                <a16:creationId xmlns:a16="http://schemas.microsoft.com/office/drawing/2014/main" id="{966CC0BD-FF60-6CE3-2FFF-C6A9EF00D354}"/>
              </a:ext>
            </a:extLst>
          </p:cNvPr>
          <p:cNvGrpSpPr/>
          <p:nvPr/>
        </p:nvGrpSpPr>
        <p:grpSpPr>
          <a:xfrm>
            <a:off x="2760366" y="320493"/>
            <a:ext cx="11894274" cy="1423467"/>
            <a:chOff x="0" y="-38100"/>
            <a:chExt cx="15859032" cy="1897955"/>
          </a:xfrm>
        </p:grpSpPr>
        <p:sp>
          <p:nvSpPr>
            <p:cNvPr id="57" name="TextBox 50">
              <a:extLst>
                <a:ext uri="{FF2B5EF4-FFF2-40B4-BE49-F238E27FC236}">
                  <a16:creationId xmlns:a16="http://schemas.microsoft.com/office/drawing/2014/main" id="{0784FCAF-EAF1-0C4C-21B3-2691C039D16A}"/>
                </a:ext>
              </a:extLst>
            </p:cNvPr>
            <p:cNvSpPr txBox="1"/>
            <p:nvPr/>
          </p:nvSpPr>
          <p:spPr>
            <a:xfrm>
              <a:off x="0" y="456565"/>
              <a:ext cx="15859032" cy="140329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Unterstützung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und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Begleitung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</a:p>
            <a:p>
              <a:pPr algn="l">
                <a:lnSpc>
                  <a:spcPts val="4200"/>
                </a:lnSpc>
              </a:pP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des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betrieblichen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Mobilitätsmanagements</a:t>
              </a:r>
              <a:endPara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  <p:sp>
          <p:nvSpPr>
            <p:cNvPr id="58" name="TextBox 51">
              <a:extLst>
                <a:ext uri="{FF2B5EF4-FFF2-40B4-BE49-F238E27FC236}">
                  <a16:creationId xmlns:a16="http://schemas.microsoft.com/office/drawing/2014/main" id="{D483B87D-E7B8-7DE1-0881-42B7997F9F41}"/>
                </a:ext>
              </a:extLst>
            </p:cNvPr>
            <p:cNvSpPr txBox="1"/>
            <p:nvPr/>
          </p:nvSpPr>
          <p:spPr>
            <a:xfrm>
              <a:off x="0" y="-38100"/>
              <a:ext cx="1882048" cy="40857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8</a:t>
              </a:r>
            </a:p>
          </p:txBody>
        </p:sp>
      </p:grpSp>
      <p:grpSp>
        <p:nvGrpSpPr>
          <p:cNvPr id="59" name="Group 55">
            <a:extLst>
              <a:ext uri="{FF2B5EF4-FFF2-40B4-BE49-F238E27FC236}">
                <a16:creationId xmlns:a16="http://schemas.microsoft.com/office/drawing/2014/main" id="{179B1420-3D51-5ED2-1D7C-8D68C7A10518}"/>
              </a:ext>
            </a:extLst>
          </p:cNvPr>
          <p:cNvGrpSpPr/>
          <p:nvPr/>
        </p:nvGrpSpPr>
        <p:grpSpPr>
          <a:xfrm>
            <a:off x="-15767" y="2291998"/>
            <a:ext cx="183377" cy="7556180"/>
            <a:chOff x="-34161" y="24949"/>
            <a:chExt cx="244503" cy="10074908"/>
          </a:xfrm>
        </p:grpSpPr>
        <p:sp>
          <p:nvSpPr>
            <p:cNvPr id="60" name="TextBox 56">
              <a:extLst>
                <a:ext uri="{FF2B5EF4-FFF2-40B4-BE49-F238E27FC236}">
                  <a16:creationId xmlns:a16="http://schemas.microsoft.com/office/drawing/2014/main" id="{DDD7D248-F4F4-06A4-3A19-A9534EFD6F55}"/>
                </a:ext>
              </a:extLst>
            </p:cNvPr>
            <p:cNvSpPr txBox="1"/>
            <p:nvPr/>
          </p:nvSpPr>
          <p:spPr>
            <a:xfrm rot="16200000">
              <a:off x="-4465808" y="4477619"/>
              <a:ext cx="9128820" cy="22348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399"/>
                </a:lnSpc>
              </a:pP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UBA 2022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obilitätsmanagement</a:t>
              </a:r>
              <a:endParaRPr lang="en-US" sz="900" dirty="0">
                <a:solidFill>
                  <a:srgbClr val="011633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8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61" name="TextBox 57">
              <a:extLst>
                <a:ext uri="{FF2B5EF4-FFF2-40B4-BE49-F238E27FC236}">
                  <a16:creationId xmlns:a16="http://schemas.microsoft.com/office/drawing/2014/main" id="{77412A18-4E82-5092-2B14-B3FBC15D5FFD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sp>
        <p:nvSpPr>
          <p:cNvPr id="12" name="TextBox 48">
            <a:extLst>
              <a:ext uri="{FF2B5EF4-FFF2-40B4-BE49-F238E27FC236}">
                <a16:creationId xmlns:a16="http://schemas.microsoft.com/office/drawing/2014/main" id="{5EE6E486-2A54-6BE8-DCE6-A14BDAA9C472}"/>
              </a:ext>
            </a:extLst>
          </p:cNvPr>
          <p:cNvSpPr txBox="1"/>
          <p:nvPr/>
        </p:nvSpPr>
        <p:spPr>
          <a:xfrm>
            <a:off x="889210" y="7027192"/>
            <a:ext cx="12037191" cy="11275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Enabling-</a:t>
            </a: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rmöglich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Nutz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THG-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rei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kehrsträg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; 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etz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zw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atsächlich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tie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ritte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D7F5E32-433E-F20A-1E4B-2DC9C4A85BC5}"/>
              </a:ext>
            </a:extLst>
          </p:cNvPr>
          <p:cNvGrpSpPr/>
          <p:nvPr/>
        </p:nvGrpSpPr>
        <p:grpSpPr>
          <a:xfrm>
            <a:off x="615671" y="7151017"/>
            <a:ext cx="188501" cy="188501"/>
            <a:chOff x="0" y="0"/>
            <a:chExt cx="812800" cy="812800"/>
          </a:xfrm>
        </p:grpSpPr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46200C42-0CB3-EB2D-8990-10EB88CE1A60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FC80C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52" name="TextBox 14">
              <a:extLst>
                <a:ext uri="{FF2B5EF4-FFF2-40B4-BE49-F238E27FC236}">
                  <a16:creationId xmlns:a16="http://schemas.microsoft.com/office/drawing/2014/main" id="{EE0B6646-41C5-FD47-2E61-1323EEAF605A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37" name="Group 11">
            <a:extLst>
              <a:ext uri="{FF2B5EF4-FFF2-40B4-BE49-F238E27FC236}">
                <a16:creationId xmlns:a16="http://schemas.microsoft.com/office/drawing/2014/main" id="{97EA345C-7BD9-EFE8-104F-50483FB90DC6}"/>
              </a:ext>
            </a:extLst>
          </p:cNvPr>
          <p:cNvGrpSpPr/>
          <p:nvPr/>
        </p:nvGrpSpPr>
        <p:grpSpPr>
          <a:xfrm>
            <a:off x="615671" y="9407587"/>
            <a:ext cx="2144695" cy="440591"/>
            <a:chOff x="0" y="0"/>
            <a:chExt cx="606637" cy="124623"/>
          </a:xfrm>
        </p:grpSpPr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27CBCEAA-A98A-7E8C-0035-8CAAF1A07A90}"/>
                </a:ext>
              </a:extLst>
            </p:cNvPr>
            <p:cNvSpPr/>
            <p:nvPr/>
          </p:nvSpPr>
          <p:spPr>
            <a:xfrm>
              <a:off x="0" y="0"/>
              <a:ext cx="606637" cy="124623"/>
            </a:xfrm>
            <a:custGeom>
              <a:avLst/>
              <a:gdLst/>
              <a:ahLst/>
              <a:cxnLst/>
              <a:rect l="l" t="t" r="r" b="b"/>
              <a:pathLst>
                <a:path w="606637" h="124623">
                  <a:moveTo>
                    <a:pt x="62312" y="0"/>
                  </a:moveTo>
                  <a:lnTo>
                    <a:pt x="544326" y="0"/>
                  </a:lnTo>
                  <a:cubicBezTo>
                    <a:pt x="560852" y="0"/>
                    <a:pt x="576701" y="6565"/>
                    <a:pt x="588387" y="18251"/>
                  </a:cubicBezTo>
                  <a:cubicBezTo>
                    <a:pt x="600072" y="29936"/>
                    <a:pt x="606637" y="45786"/>
                    <a:pt x="606637" y="62312"/>
                  </a:cubicBezTo>
                  <a:lnTo>
                    <a:pt x="606637" y="62312"/>
                  </a:lnTo>
                  <a:cubicBezTo>
                    <a:pt x="606637" y="96725"/>
                    <a:pt x="578740" y="124623"/>
                    <a:pt x="544326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39" name="TextBox 13">
              <a:extLst>
                <a:ext uri="{FF2B5EF4-FFF2-40B4-BE49-F238E27FC236}">
                  <a16:creationId xmlns:a16="http://schemas.microsoft.com/office/drawing/2014/main" id="{3D75722D-3AD1-7EEF-82CA-A3111D5FCBC3}"/>
                </a:ext>
              </a:extLst>
            </p:cNvPr>
            <p:cNvSpPr txBox="1"/>
            <p:nvPr/>
          </p:nvSpPr>
          <p:spPr>
            <a:xfrm>
              <a:off x="0" y="-28575"/>
              <a:ext cx="606637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48" name="TextBox 37">
            <a:extLst>
              <a:ext uri="{FF2B5EF4-FFF2-40B4-BE49-F238E27FC236}">
                <a16:creationId xmlns:a16="http://schemas.microsoft.com/office/drawing/2014/main" id="{AAEFBC8F-B91D-B828-212F-D5E181A05799}"/>
              </a:ext>
            </a:extLst>
          </p:cNvPr>
          <p:cNvSpPr txBox="1"/>
          <p:nvPr/>
        </p:nvSpPr>
        <p:spPr>
          <a:xfrm>
            <a:off x="1025390" y="9506372"/>
            <a:ext cx="1610695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Öffentliche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Wirkung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53" name="Freeform 26">
            <a:extLst>
              <a:ext uri="{FF2B5EF4-FFF2-40B4-BE49-F238E27FC236}">
                <a16:creationId xmlns:a16="http://schemas.microsoft.com/office/drawing/2014/main" id="{E5117AF1-C10F-8DBB-A19E-4998C0F2B68F}"/>
              </a:ext>
            </a:extLst>
          </p:cNvPr>
          <p:cNvSpPr/>
          <p:nvPr/>
        </p:nvSpPr>
        <p:spPr>
          <a:xfrm>
            <a:off x="743429" y="9517028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2"/>
                </a:lnTo>
                <a:lnTo>
                  <a:pt x="0" y="233322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dirty="0"/>
          </a:p>
        </p:txBody>
      </p:sp>
      <p:grpSp>
        <p:nvGrpSpPr>
          <p:cNvPr id="54" name="Group 21">
            <a:extLst>
              <a:ext uri="{FF2B5EF4-FFF2-40B4-BE49-F238E27FC236}">
                <a16:creationId xmlns:a16="http://schemas.microsoft.com/office/drawing/2014/main" id="{0EFB4790-1A2A-2E4E-E2F9-7E4B667D58EC}"/>
              </a:ext>
            </a:extLst>
          </p:cNvPr>
          <p:cNvGrpSpPr/>
          <p:nvPr/>
        </p:nvGrpSpPr>
        <p:grpSpPr>
          <a:xfrm>
            <a:off x="2885849" y="9407587"/>
            <a:ext cx="2463783" cy="440591"/>
            <a:chOff x="0" y="0"/>
            <a:chExt cx="696893" cy="124623"/>
          </a:xfrm>
        </p:grpSpPr>
        <p:sp>
          <p:nvSpPr>
            <p:cNvPr id="55" name="Freeform 22">
              <a:extLst>
                <a:ext uri="{FF2B5EF4-FFF2-40B4-BE49-F238E27FC236}">
                  <a16:creationId xmlns:a16="http://schemas.microsoft.com/office/drawing/2014/main" id="{63CD0E59-EE4D-482A-3E4F-C8BB356280BE}"/>
                </a:ext>
              </a:extLst>
            </p:cNvPr>
            <p:cNvSpPr/>
            <p:nvPr/>
          </p:nvSpPr>
          <p:spPr>
            <a:xfrm>
              <a:off x="0" y="0"/>
              <a:ext cx="696893" cy="124623"/>
            </a:xfrm>
            <a:custGeom>
              <a:avLst/>
              <a:gdLst/>
              <a:ahLst/>
              <a:cxnLst/>
              <a:rect l="l" t="t" r="r" b="b"/>
              <a:pathLst>
                <a:path w="696893" h="124623">
                  <a:moveTo>
                    <a:pt x="62312" y="0"/>
                  </a:moveTo>
                  <a:lnTo>
                    <a:pt x="634582" y="0"/>
                  </a:lnTo>
                  <a:cubicBezTo>
                    <a:pt x="651108" y="0"/>
                    <a:pt x="666957" y="6565"/>
                    <a:pt x="678643" y="18251"/>
                  </a:cubicBezTo>
                  <a:cubicBezTo>
                    <a:pt x="690328" y="29936"/>
                    <a:pt x="696893" y="45786"/>
                    <a:pt x="696893" y="62312"/>
                  </a:cubicBezTo>
                  <a:lnTo>
                    <a:pt x="696893" y="62312"/>
                  </a:lnTo>
                  <a:cubicBezTo>
                    <a:pt x="696893" y="78838"/>
                    <a:pt x="690328" y="94687"/>
                    <a:pt x="678643" y="106373"/>
                  </a:cubicBezTo>
                  <a:cubicBezTo>
                    <a:pt x="666957" y="118058"/>
                    <a:pt x="651108" y="124623"/>
                    <a:pt x="634582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62" name="TextBox 23">
              <a:extLst>
                <a:ext uri="{FF2B5EF4-FFF2-40B4-BE49-F238E27FC236}">
                  <a16:creationId xmlns:a16="http://schemas.microsoft.com/office/drawing/2014/main" id="{371DE5EC-6433-51A8-03B1-0965BE81E7A8}"/>
                </a:ext>
              </a:extLst>
            </p:cNvPr>
            <p:cNvSpPr txBox="1"/>
            <p:nvPr/>
          </p:nvSpPr>
          <p:spPr>
            <a:xfrm>
              <a:off x="0" y="-28575"/>
              <a:ext cx="696893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63" name="Freeform 34">
            <a:extLst>
              <a:ext uri="{FF2B5EF4-FFF2-40B4-BE49-F238E27FC236}">
                <a16:creationId xmlns:a16="http://schemas.microsoft.com/office/drawing/2014/main" id="{D25D4DC1-DFCB-A69F-77D3-152B00E00BFB}"/>
              </a:ext>
            </a:extLst>
          </p:cNvPr>
          <p:cNvSpPr/>
          <p:nvPr/>
        </p:nvSpPr>
        <p:spPr>
          <a:xfrm>
            <a:off x="3009674" y="9511221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3"/>
                </a:lnTo>
                <a:lnTo>
                  <a:pt x="0" y="233323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64" name="TextBox 38">
            <a:extLst>
              <a:ext uri="{FF2B5EF4-FFF2-40B4-BE49-F238E27FC236}">
                <a16:creationId xmlns:a16="http://schemas.microsoft.com/office/drawing/2014/main" id="{F9078CCA-DEFB-E3D7-E70D-CA847BC05F18}"/>
              </a:ext>
            </a:extLst>
          </p:cNvPr>
          <p:cNvSpPr txBox="1"/>
          <p:nvPr/>
        </p:nvSpPr>
        <p:spPr>
          <a:xfrm>
            <a:off x="3281288" y="9506372"/>
            <a:ext cx="1912102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Einfache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Umsetzbarkeit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pic>
        <p:nvPicPr>
          <p:cNvPr id="65" name="Grafik 64" descr="Sterne mit einfarbiger Füllung">
            <a:extLst>
              <a:ext uri="{FF2B5EF4-FFF2-40B4-BE49-F238E27FC236}">
                <a16:creationId xmlns:a16="http://schemas.microsoft.com/office/drawing/2014/main" id="{E9264F87-E04D-65A9-FCBC-38E15F05E74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404984" y="9396484"/>
            <a:ext cx="457200" cy="457200"/>
          </a:xfrm>
          <a:prstGeom prst="rect">
            <a:avLst/>
          </a:prstGeom>
        </p:spPr>
      </p:pic>
      <p:sp>
        <p:nvSpPr>
          <p:cNvPr id="66" name="TextBox 34">
            <a:extLst>
              <a:ext uri="{FF2B5EF4-FFF2-40B4-BE49-F238E27FC236}">
                <a16:creationId xmlns:a16="http://schemas.microsoft.com/office/drawing/2014/main" id="{B3CA4D8E-C192-6404-3023-DD75195C6749}"/>
              </a:ext>
            </a:extLst>
          </p:cNvPr>
          <p:cNvSpPr txBox="1"/>
          <p:nvPr/>
        </p:nvSpPr>
        <p:spPr>
          <a:xfrm>
            <a:off x="5892879" y="9506372"/>
            <a:ext cx="3385647" cy="2208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achener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obilitätsmanagement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</p:spTree>
    <p:extLst>
      <p:ext uri="{BB962C8B-B14F-4D97-AF65-F5344CB8AC3E}">
        <p14:creationId xmlns:p14="http://schemas.microsoft.com/office/powerpoint/2010/main" val="38484617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" name="AutoShape 3"/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" name="AutoShape 4"/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5" name="Freeform 5"/>
          <p:cNvSpPr/>
          <p:nvPr/>
        </p:nvSpPr>
        <p:spPr>
          <a:xfrm>
            <a:off x="912280" y="558004"/>
            <a:ext cx="1723804" cy="1062022"/>
          </a:xfrm>
          <a:custGeom>
            <a:avLst/>
            <a:gdLst/>
            <a:ahLst/>
            <a:cxnLst/>
            <a:rect l="l" t="t" r="r" b="b"/>
            <a:pathLst>
              <a:path w="1723804" h="1062022">
                <a:moveTo>
                  <a:pt x="0" y="0"/>
                </a:moveTo>
                <a:lnTo>
                  <a:pt x="1723804" y="0"/>
                </a:lnTo>
                <a:lnTo>
                  <a:pt x="1723804" y="1062022"/>
                </a:lnTo>
                <a:lnTo>
                  <a:pt x="0" y="1062022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6" name="Group 6"/>
          <p:cNvGrpSpPr/>
          <p:nvPr/>
        </p:nvGrpSpPr>
        <p:grpSpPr>
          <a:xfrm>
            <a:off x="743429" y="1620026"/>
            <a:ext cx="2016937" cy="339603"/>
            <a:chOff x="0" y="0"/>
            <a:chExt cx="2689249" cy="452804"/>
          </a:xfrm>
        </p:grpSpPr>
        <p:grpSp>
          <p:nvGrpSpPr>
            <p:cNvPr id="7" name="Group 7"/>
            <p:cNvGrpSpPr/>
            <p:nvPr/>
          </p:nvGrpSpPr>
          <p:grpSpPr>
            <a:xfrm>
              <a:off x="0" y="0"/>
              <a:ext cx="2689249" cy="452804"/>
              <a:chOff x="0" y="0"/>
              <a:chExt cx="747014" cy="125779"/>
            </a:xfrm>
          </p:grpSpPr>
          <p:sp>
            <p:nvSpPr>
              <p:cNvPr id="8" name="Freeform 8"/>
              <p:cNvSpPr/>
              <p:nvPr/>
            </p:nvSpPr>
            <p:spPr>
              <a:xfrm>
                <a:off x="0" y="0"/>
                <a:ext cx="747014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747014" h="125779">
                    <a:moveTo>
                      <a:pt x="0" y="0"/>
                    </a:moveTo>
                    <a:lnTo>
                      <a:pt x="747014" y="0"/>
                    </a:lnTo>
                    <a:lnTo>
                      <a:pt x="747014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" name="TextBox 9"/>
              <p:cNvSpPr txBox="1"/>
              <p:nvPr/>
            </p:nvSpPr>
            <p:spPr>
              <a:xfrm>
                <a:off x="0" y="-114300"/>
                <a:ext cx="747014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10" name="TextBox 10"/>
            <p:cNvSpPr txBox="1"/>
            <p:nvPr/>
          </p:nvSpPr>
          <p:spPr>
            <a:xfrm>
              <a:off x="65038" y="18756"/>
              <a:ext cx="2559172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 dirty="0" err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Verkehrssektor</a:t>
              </a:r>
              <a:endParaRPr lang="en-US" sz="1799" b="1" dirty="0">
                <a:solidFill>
                  <a:srgbClr val="FFC80C"/>
                </a:solidFill>
                <a:latin typeface="Open Sans Bold"/>
                <a:ea typeface="Open Sans Bold"/>
                <a:cs typeface="Open Sans Bold"/>
                <a:sym typeface="Open Sans Bold"/>
              </a:endParaRPr>
            </a:p>
          </p:txBody>
        </p:sp>
      </p:grpSp>
      <p:sp>
        <p:nvSpPr>
          <p:cNvPr id="11" name="Freeform 11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5" name="Group 35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6" name="Freeform 36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45" name="TextBox 45"/>
          <p:cNvSpPr txBox="1"/>
          <p:nvPr/>
        </p:nvSpPr>
        <p:spPr>
          <a:xfrm>
            <a:off x="517221" y="2150128"/>
            <a:ext cx="12409180" cy="151227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as eigene Auto ist und bleibt ein sehr attraktives Verkehrsmittel. Daher kann die Kommune zusätzlich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en Verzicht aufs eigene Auto belohnen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z.B. durch 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e Abwrackprämie oder </a:t>
            </a:r>
            <a:r>
              <a:rPr lang="de-DE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tiegsprämie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auf ÖPNV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günstigte ÖPNV-Angebote für unterschiedliche einkommensschwache Bevölkerungsgruppen</a:t>
            </a:r>
          </a:p>
        </p:txBody>
      </p:sp>
      <p:sp>
        <p:nvSpPr>
          <p:cNvPr id="46" name="TextBox 46"/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</a:p>
        </p:txBody>
      </p:sp>
      <p:sp>
        <p:nvSpPr>
          <p:cNvPr id="47" name="TextBox 47"/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 Akteure</a:t>
            </a:r>
          </a:p>
        </p:txBody>
      </p:sp>
      <p:sp>
        <p:nvSpPr>
          <p:cNvPr id="49" name="TextBox 49"/>
          <p:cNvSpPr txBox="1"/>
          <p:nvPr/>
        </p:nvSpPr>
        <p:spPr>
          <a:xfrm>
            <a:off x="13469326" y="6989092"/>
            <a:ext cx="4203003" cy="228171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olitischer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schluss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meindera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(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nkl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öchter-unternehm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)</a:t>
            </a: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lanung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waltung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führung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tadtwerk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od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nternehm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50" name="TextBox 50"/>
          <p:cNvSpPr txBox="1"/>
          <p:nvPr/>
        </p:nvSpPr>
        <p:spPr>
          <a:xfrm>
            <a:off x="16764000" y="9541473"/>
            <a:ext cx="1040387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10</a:t>
            </a:r>
          </a:p>
        </p:txBody>
      </p:sp>
      <p:sp>
        <p:nvSpPr>
          <p:cNvPr id="51" name="TextBox 51"/>
          <p:cNvSpPr txBox="1"/>
          <p:nvPr/>
        </p:nvSpPr>
        <p:spPr>
          <a:xfrm>
            <a:off x="13636773" y="5715305"/>
            <a:ext cx="4035556" cy="4515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enzlingen </a:t>
            </a: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ibt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n </a:t>
            </a: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toschlüssel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ab</a:t>
            </a:r>
          </a:p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kimedia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Commons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56" name="Group 49">
            <a:extLst>
              <a:ext uri="{FF2B5EF4-FFF2-40B4-BE49-F238E27FC236}">
                <a16:creationId xmlns:a16="http://schemas.microsoft.com/office/drawing/2014/main" id="{966CC0BD-FF60-6CE3-2FFF-C6A9EF00D354}"/>
              </a:ext>
            </a:extLst>
          </p:cNvPr>
          <p:cNvGrpSpPr/>
          <p:nvPr/>
        </p:nvGrpSpPr>
        <p:grpSpPr>
          <a:xfrm>
            <a:off x="2760366" y="836627"/>
            <a:ext cx="11894274" cy="884858"/>
            <a:chOff x="0" y="-38100"/>
            <a:chExt cx="15859032" cy="1179810"/>
          </a:xfrm>
        </p:grpSpPr>
        <p:sp>
          <p:nvSpPr>
            <p:cNvPr id="57" name="TextBox 50">
              <a:extLst>
                <a:ext uri="{FF2B5EF4-FFF2-40B4-BE49-F238E27FC236}">
                  <a16:creationId xmlns:a16="http://schemas.microsoft.com/office/drawing/2014/main" id="{0784FCAF-EAF1-0C4C-21B3-2691C039D16A}"/>
                </a:ext>
              </a:extLst>
            </p:cNvPr>
            <p:cNvSpPr txBox="1"/>
            <p:nvPr/>
          </p:nvSpPr>
          <p:spPr>
            <a:xfrm>
              <a:off x="0" y="456565"/>
              <a:ext cx="15859032" cy="68514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Schaffung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von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Anreizen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für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reduzierte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PKW-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Nutzung</a:t>
              </a:r>
              <a:endPara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  <p:sp>
          <p:nvSpPr>
            <p:cNvPr id="58" name="TextBox 51">
              <a:extLst>
                <a:ext uri="{FF2B5EF4-FFF2-40B4-BE49-F238E27FC236}">
                  <a16:creationId xmlns:a16="http://schemas.microsoft.com/office/drawing/2014/main" id="{D483B87D-E7B8-7DE1-0881-42B7997F9F41}"/>
                </a:ext>
              </a:extLst>
            </p:cNvPr>
            <p:cNvSpPr txBox="1"/>
            <p:nvPr/>
          </p:nvSpPr>
          <p:spPr>
            <a:xfrm>
              <a:off x="0" y="-38100"/>
              <a:ext cx="1882048" cy="40857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9</a:t>
              </a:r>
            </a:p>
          </p:txBody>
        </p:sp>
      </p:grpSp>
      <p:grpSp>
        <p:nvGrpSpPr>
          <p:cNvPr id="59" name="Group 55">
            <a:extLst>
              <a:ext uri="{FF2B5EF4-FFF2-40B4-BE49-F238E27FC236}">
                <a16:creationId xmlns:a16="http://schemas.microsoft.com/office/drawing/2014/main" id="{179B1420-3D51-5ED2-1D7C-8D68C7A10518}"/>
              </a:ext>
            </a:extLst>
          </p:cNvPr>
          <p:cNvGrpSpPr/>
          <p:nvPr/>
        </p:nvGrpSpPr>
        <p:grpSpPr>
          <a:xfrm>
            <a:off x="-15767" y="2291998"/>
            <a:ext cx="183377" cy="7556180"/>
            <a:chOff x="-34161" y="24949"/>
            <a:chExt cx="244503" cy="10074908"/>
          </a:xfrm>
        </p:grpSpPr>
        <p:sp>
          <p:nvSpPr>
            <p:cNvPr id="60" name="TextBox 56">
              <a:extLst>
                <a:ext uri="{FF2B5EF4-FFF2-40B4-BE49-F238E27FC236}">
                  <a16:creationId xmlns:a16="http://schemas.microsoft.com/office/drawing/2014/main" id="{DDD7D248-F4F4-06A4-3A19-A9534EFD6F55}"/>
                </a:ext>
              </a:extLst>
            </p:cNvPr>
            <p:cNvSpPr txBox="1"/>
            <p:nvPr/>
          </p:nvSpPr>
          <p:spPr>
            <a:xfrm rot="16200000">
              <a:off x="-4465808" y="4477619"/>
              <a:ext cx="9128820" cy="22348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399"/>
                </a:lnSpc>
              </a:pP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enzlinge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elohnt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de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Verzicht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ufs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eigene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Auto</a:t>
              </a:r>
              <a:endParaRPr lang="en-US" sz="900" dirty="0">
                <a:solidFill>
                  <a:srgbClr val="011633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8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61" name="TextBox 57">
              <a:extLst>
                <a:ext uri="{FF2B5EF4-FFF2-40B4-BE49-F238E27FC236}">
                  <a16:creationId xmlns:a16="http://schemas.microsoft.com/office/drawing/2014/main" id="{77412A18-4E82-5092-2B14-B3FBC15D5FFD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sp>
        <p:nvSpPr>
          <p:cNvPr id="12" name="TextBox 48">
            <a:extLst>
              <a:ext uri="{FF2B5EF4-FFF2-40B4-BE49-F238E27FC236}">
                <a16:creationId xmlns:a16="http://schemas.microsoft.com/office/drawing/2014/main" id="{5EE6E486-2A54-6BE8-DCE6-A14BDAA9C472}"/>
              </a:ext>
            </a:extLst>
          </p:cNvPr>
          <p:cNvSpPr txBox="1"/>
          <p:nvPr/>
        </p:nvSpPr>
        <p:spPr>
          <a:xfrm>
            <a:off x="889210" y="7027192"/>
            <a:ext cx="12037191" cy="11275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Enabling-</a:t>
            </a: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rmöglich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Nutz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THG-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rei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kehrsträg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; 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etz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zw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atsächlich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tie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ritte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D7F5E32-433E-F20A-1E4B-2DC9C4A85BC5}"/>
              </a:ext>
            </a:extLst>
          </p:cNvPr>
          <p:cNvGrpSpPr/>
          <p:nvPr/>
        </p:nvGrpSpPr>
        <p:grpSpPr>
          <a:xfrm>
            <a:off x="615671" y="7151017"/>
            <a:ext cx="188501" cy="188501"/>
            <a:chOff x="0" y="0"/>
            <a:chExt cx="812800" cy="812800"/>
          </a:xfrm>
        </p:grpSpPr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46200C42-0CB3-EB2D-8990-10EB88CE1A60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FC80C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52" name="TextBox 14">
              <a:extLst>
                <a:ext uri="{FF2B5EF4-FFF2-40B4-BE49-F238E27FC236}">
                  <a16:creationId xmlns:a16="http://schemas.microsoft.com/office/drawing/2014/main" id="{EE0B6646-41C5-FD47-2E61-1323EEAF605A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37" name="Group 11">
            <a:extLst>
              <a:ext uri="{FF2B5EF4-FFF2-40B4-BE49-F238E27FC236}">
                <a16:creationId xmlns:a16="http://schemas.microsoft.com/office/drawing/2014/main" id="{57685BB4-ED46-4A5E-49D1-DE51C69BF6B4}"/>
              </a:ext>
            </a:extLst>
          </p:cNvPr>
          <p:cNvGrpSpPr/>
          <p:nvPr/>
        </p:nvGrpSpPr>
        <p:grpSpPr>
          <a:xfrm>
            <a:off x="615671" y="9407587"/>
            <a:ext cx="2144695" cy="440591"/>
            <a:chOff x="0" y="0"/>
            <a:chExt cx="606637" cy="124623"/>
          </a:xfrm>
        </p:grpSpPr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9EE5DC91-CB62-86D3-3F12-8B4C252B29ED}"/>
                </a:ext>
              </a:extLst>
            </p:cNvPr>
            <p:cNvSpPr/>
            <p:nvPr/>
          </p:nvSpPr>
          <p:spPr>
            <a:xfrm>
              <a:off x="0" y="0"/>
              <a:ext cx="606637" cy="124623"/>
            </a:xfrm>
            <a:custGeom>
              <a:avLst/>
              <a:gdLst/>
              <a:ahLst/>
              <a:cxnLst/>
              <a:rect l="l" t="t" r="r" b="b"/>
              <a:pathLst>
                <a:path w="606637" h="124623">
                  <a:moveTo>
                    <a:pt x="62312" y="0"/>
                  </a:moveTo>
                  <a:lnTo>
                    <a:pt x="544326" y="0"/>
                  </a:lnTo>
                  <a:cubicBezTo>
                    <a:pt x="560852" y="0"/>
                    <a:pt x="576701" y="6565"/>
                    <a:pt x="588387" y="18251"/>
                  </a:cubicBezTo>
                  <a:cubicBezTo>
                    <a:pt x="600072" y="29936"/>
                    <a:pt x="606637" y="45786"/>
                    <a:pt x="606637" y="62312"/>
                  </a:cubicBezTo>
                  <a:lnTo>
                    <a:pt x="606637" y="62312"/>
                  </a:lnTo>
                  <a:cubicBezTo>
                    <a:pt x="606637" y="96725"/>
                    <a:pt x="578740" y="124623"/>
                    <a:pt x="544326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39" name="TextBox 13">
              <a:extLst>
                <a:ext uri="{FF2B5EF4-FFF2-40B4-BE49-F238E27FC236}">
                  <a16:creationId xmlns:a16="http://schemas.microsoft.com/office/drawing/2014/main" id="{1395727D-C3E5-4A49-3AF9-9E3B873700BC}"/>
                </a:ext>
              </a:extLst>
            </p:cNvPr>
            <p:cNvSpPr txBox="1"/>
            <p:nvPr/>
          </p:nvSpPr>
          <p:spPr>
            <a:xfrm>
              <a:off x="0" y="-28575"/>
              <a:ext cx="606637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48" name="TextBox 37">
            <a:extLst>
              <a:ext uri="{FF2B5EF4-FFF2-40B4-BE49-F238E27FC236}">
                <a16:creationId xmlns:a16="http://schemas.microsoft.com/office/drawing/2014/main" id="{30455021-226A-F20B-D469-816555368279}"/>
              </a:ext>
            </a:extLst>
          </p:cNvPr>
          <p:cNvSpPr txBox="1"/>
          <p:nvPr/>
        </p:nvSpPr>
        <p:spPr>
          <a:xfrm>
            <a:off x="1025390" y="9506372"/>
            <a:ext cx="1610695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Öffentliche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Wirkung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53" name="Freeform 26">
            <a:extLst>
              <a:ext uri="{FF2B5EF4-FFF2-40B4-BE49-F238E27FC236}">
                <a16:creationId xmlns:a16="http://schemas.microsoft.com/office/drawing/2014/main" id="{E70A718C-0E60-044E-E3B7-E4C4A316BFA0}"/>
              </a:ext>
            </a:extLst>
          </p:cNvPr>
          <p:cNvSpPr/>
          <p:nvPr/>
        </p:nvSpPr>
        <p:spPr>
          <a:xfrm>
            <a:off x="743429" y="9517028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2"/>
                </a:lnTo>
                <a:lnTo>
                  <a:pt x="0" y="233322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dirty="0"/>
          </a:p>
        </p:txBody>
      </p:sp>
      <p:grpSp>
        <p:nvGrpSpPr>
          <p:cNvPr id="54" name="Group 21">
            <a:extLst>
              <a:ext uri="{FF2B5EF4-FFF2-40B4-BE49-F238E27FC236}">
                <a16:creationId xmlns:a16="http://schemas.microsoft.com/office/drawing/2014/main" id="{CFEEE3B4-0F35-8506-D92F-0C8876BB53EC}"/>
              </a:ext>
            </a:extLst>
          </p:cNvPr>
          <p:cNvGrpSpPr/>
          <p:nvPr/>
        </p:nvGrpSpPr>
        <p:grpSpPr>
          <a:xfrm>
            <a:off x="2885849" y="9407587"/>
            <a:ext cx="2463783" cy="440591"/>
            <a:chOff x="0" y="0"/>
            <a:chExt cx="696893" cy="124623"/>
          </a:xfrm>
        </p:grpSpPr>
        <p:sp>
          <p:nvSpPr>
            <p:cNvPr id="55" name="Freeform 22">
              <a:extLst>
                <a:ext uri="{FF2B5EF4-FFF2-40B4-BE49-F238E27FC236}">
                  <a16:creationId xmlns:a16="http://schemas.microsoft.com/office/drawing/2014/main" id="{9899EFE5-05DA-C91D-862B-13255BE63E05}"/>
                </a:ext>
              </a:extLst>
            </p:cNvPr>
            <p:cNvSpPr/>
            <p:nvPr/>
          </p:nvSpPr>
          <p:spPr>
            <a:xfrm>
              <a:off x="0" y="0"/>
              <a:ext cx="696893" cy="124623"/>
            </a:xfrm>
            <a:custGeom>
              <a:avLst/>
              <a:gdLst/>
              <a:ahLst/>
              <a:cxnLst/>
              <a:rect l="l" t="t" r="r" b="b"/>
              <a:pathLst>
                <a:path w="696893" h="124623">
                  <a:moveTo>
                    <a:pt x="62312" y="0"/>
                  </a:moveTo>
                  <a:lnTo>
                    <a:pt x="634582" y="0"/>
                  </a:lnTo>
                  <a:cubicBezTo>
                    <a:pt x="651108" y="0"/>
                    <a:pt x="666957" y="6565"/>
                    <a:pt x="678643" y="18251"/>
                  </a:cubicBezTo>
                  <a:cubicBezTo>
                    <a:pt x="690328" y="29936"/>
                    <a:pt x="696893" y="45786"/>
                    <a:pt x="696893" y="62312"/>
                  </a:cubicBezTo>
                  <a:lnTo>
                    <a:pt x="696893" y="62312"/>
                  </a:lnTo>
                  <a:cubicBezTo>
                    <a:pt x="696893" y="78838"/>
                    <a:pt x="690328" y="94687"/>
                    <a:pt x="678643" y="106373"/>
                  </a:cubicBezTo>
                  <a:cubicBezTo>
                    <a:pt x="666957" y="118058"/>
                    <a:pt x="651108" y="124623"/>
                    <a:pt x="634582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62" name="TextBox 23">
              <a:extLst>
                <a:ext uri="{FF2B5EF4-FFF2-40B4-BE49-F238E27FC236}">
                  <a16:creationId xmlns:a16="http://schemas.microsoft.com/office/drawing/2014/main" id="{18C356F9-7118-B5A1-E3D8-A065C4AF9D43}"/>
                </a:ext>
              </a:extLst>
            </p:cNvPr>
            <p:cNvSpPr txBox="1"/>
            <p:nvPr/>
          </p:nvSpPr>
          <p:spPr>
            <a:xfrm>
              <a:off x="0" y="-28575"/>
              <a:ext cx="696893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63" name="Freeform 34">
            <a:extLst>
              <a:ext uri="{FF2B5EF4-FFF2-40B4-BE49-F238E27FC236}">
                <a16:creationId xmlns:a16="http://schemas.microsoft.com/office/drawing/2014/main" id="{EFD4F155-1664-85EB-495E-22ED66EE07AF}"/>
              </a:ext>
            </a:extLst>
          </p:cNvPr>
          <p:cNvSpPr/>
          <p:nvPr/>
        </p:nvSpPr>
        <p:spPr>
          <a:xfrm>
            <a:off x="3009674" y="9511221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3"/>
                </a:lnTo>
                <a:lnTo>
                  <a:pt x="0" y="233323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64" name="TextBox 38">
            <a:extLst>
              <a:ext uri="{FF2B5EF4-FFF2-40B4-BE49-F238E27FC236}">
                <a16:creationId xmlns:a16="http://schemas.microsoft.com/office/drawing/2014/main" id="{3D7544DB-BCA5-FB6E-7665-4043C99F7210}"/>
              </a:ext>
            </a:extLst>
          </p:cNvPr>
          <p:cNvSpPr txBox="1"/>
          <p:nvPr/>
        </p:nvSpPr>
        <p:spPr>
          <a:xfrm>
            <a:off x="3281288" y="9506372"/>
            <a:ext cx="1912102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Einfache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Umsetzbarkeit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grpSp>
        <p:nvGrpSpPr>
          <p:cNvPr id="65" name="Group 20">
            <a:extLst>
              <a:ext uri="{FF2B5EF4-FFF2-40B4-BE49-F238E27FC236}">
                <a16:creationId xmlns:a16="http://schemas.microsoft.com/office/drawing/2014/main" id="{05473187-27F4-D0B1-1F13-51DA01184AA6}"/>
              </a:ext>
            </a:extLst>
          </p:cNvPr>
          <p:cNvGrpSpPr/>
          <p:nvPr/>
        </p:nvGrpSpPr>
        <p:grpSpPr>
          <a:xfrm>
            <a:off x="5473457" y="9407587"/>
            <a:ext cx="2934338" cy="440591"/>
            <a:chOff x="0" y="0"/>
            <a:chExt cx="829992" cy="124623"/>
          </a:xfrm>
        </p:grpSpPr>
        <p:sp>
          <p:nvSpPr>
            <p:cNvPr id="66" name="Freeform 21">
              <a:extLst>
                <a:ext uri="{FF2B5EF4-FFF2-40B4-BE49-F238E27FC236}">
                  <a16:creationId xmlns:a16="http://schemas.microsoft.com/office/drawing/2014/main" id="{8BAD8825-435B-6E4E-C8DE-9EE996D4D46F}"/>
                </a:ext>
              </a:extLst>
            </p:cNvPr>
            <p:cNvSpPr/>
            <p:nvPr/>
          </p:nvSpPr>
          <p:spPr>
            <a:xfrm>
              <a:off x="0" y="0"/>
              <a:ext cx="829992" cy="124623"/>
            </a:xfrm>
            <a:custGeom>
              <a:avLst/>
              <a:gdLst/>
              <a:ahLst/>
              <a:cxnLst/>
              <a:rect l="l" t="t" r="r" b="b"/>
              <a:pathLst>
                <a:path w="829992" h="124623">
                  <a:moveTo>
                    <a:pt x="62312" y="0"/>
                  </a:moveTo>
                  <a:lnTo>
                    <a:pt x="767680" y="0"/>
                  </a:lnTo>
                  <a:cubicBezTo>
                    <a:pt x="784206" y="0"/>
                    <a:pt x="800055" y="6565"/>
                    <a:pt x="811741" y="18251"/>
                  </a:cubicBezTo>
                  <a:cubicBezTo>
                    <a:pt x="823427" y="29936"/>
                    <a:pt x="829992" y="45786"/>
                    <a:pt x="829992" y="62312"/>
                  </a:cubicBezTo>
                  <a:lnTo>
                    <a:pt x="829992" y="62312"/>
                  </a:lnTo>
                  <a:cubicBezTo>
                    <a:pt x="829992" y="96725"/>
                    <a:pt x="802094" y="124623"/>
                    <a:pt x="767680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67" name="TextBox 22">
              <a:extLst>
                <a:ext uri="{FF2B5EF4-FFF2-40B4-BE49-F238E27FC236}">
                  <a16:creationId xmlns:a16="http://schemas.microsoft.com/office/drawing/2014/main" id="{BCA0352C-0404-0D61-B4E8-A8AA05AA9482}"/>
                </a:ext>
              </a:extLst>
            </p:cNvPr>
            <p:cNvSpPr txBox="1"/>
            <p:nvPr/>
          </p:nvSpPr>
          <p:spPr>
            <a:xfrm>
              <a:off x="0" y="-28575"/>
              <a:ext cx="829992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68" name="Freeform 28">
            <a:extLst>
              <a:ext uri="{FF2B5EF4-FFF2-40B4-BE49-F238E27FC236}">
                <a16:creationId xmlns:a16="http://schemas.microsoft.com/office/drawing/2014/main" id="{F3BE37B7-173E-08E8-CCF2-ABFDD4AFDDA0}"/>
              </a:ext>
            </a:extLst>
          </p:cNvPr>
          <p:cNvSpPr/>
          <p:nvPr/>
        </p:nvSpPr>
        <p:spPr>
          <a:xfrm>
            <a:off x="5642510" y="9524808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3" y="0"/>
                </a:lnTo>
                <a:lnTo>
                  <a:pt x="233323" y="233323"/>
                </a:lnTo>
                <a:lnTo>
                  <a:pt x="0" y="233323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69" name="TextBox 35">
            <a:extLst>
              <a:ext uri="{FF2B5EF4-FFF2-40B4-BE49-F238E27FC236}">
                <a16:creationId xmlns:a16="http://schemas.microsoft.com/office/drawing/2014/main" id="{8C79944A-6CD9-E91A-5AC9-02A78F2E430E}"/>
              </a:ext>
            </a:extLst>
          </p:cNvPr>
          <p:cNvSpPr txBox="1"/>
          <p:nvPr/>
        </p:nvSpPr>
        <p:spPr>
          <a:xfrm>
            <a:off x="5923458" y="9506372"/>
            <a:ext cx="2365114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nefits für die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Allgemeinheit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pic>
        <p:nvPicPr>
          <p:cNvPr id="70" name="Grafik 69" descr="Sterne mit einfarbiger Füllung">
            <a:extLst>
              <a:ext uri="{FF2B5EF4-FFF2-40B4-BE49-F238E27FC236}">
                <a16:creationId xmlns:a16="http://schemas.microsoft.com/office/drawing/2014/main" id="{15888B63-F8A3-3AB9-63C2-CAEA657A138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468407" y="9396484"/>
            <a:ext cx="457200" cy="457200"/>
          </a:xfrm>
          <a:prstGeom prst="rect">
            <a:avLst/>
          </a:prstGeom>
        </p:spPr>
      </p:pic>
      <p:sp>
        <p:nvSpPr>
          <p:cNvPr id="71" name="TextBox 34">
            <a:extLst>
              <a:ext uri="{FF2B5EF4-FFF2-40B4-BE49-F238E27FC236}">
                <a16:creationId xmlns:a16="http://schemas.microsoft.com/office/drawing/2014/main" id="{97873B16-41C1-8BC1-20BE-1F38DBBDCF99}"/>
              </a:ext>
            </a:extLst>
          </p:cNvPr>
          <p:cNvSpPr txBox="1"/>
          <p:nvPr/>
        </p:nvSpPr>
        <p:spPr>
          <a:xfrm>
            <a:off x="8956302" y="9506372"/>
            <a:ext cx="3385647" cy="2208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enzlingen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ibt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den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utoschlüssel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ab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</p:spTree>
    <p:extLst>
      <p:ext uri="{BB962C8B-B14F-4D97-AF65-F5344CB8AC3E}">
        <p14:creationId xmlns:p14="http://schemas.microsoft.com/office/powerpoint/2010/main" val="42647956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" name="AutoShape 3"/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" name="AutoShape 4"/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5" name="Freeform 5"/>
          <p:cNvSpPr/>
          <p:nvPr/>
        </p:nvSpPr>
        <p:spPr>
          <a:xfrm>
            <a:off x="912280" y="558004"/>
            <a:ext cx="1723804" cy="1062022"/>
          </a:xfrm>
          <a:custGeom>
            <a:avLst/>
            <a:gdLst/>
            <a:ahLst/>
            <a:cxnLst/>
            <a:rect l="l" t="t" r="r" b="b"/>
            <a:pathLst>
              <a:path w="1723804" h="1062022">
                <a:moveTo>
                  <a:pt x="0" y="0"/>
                </a:moveTo>
                <a:lnTo>
                  <a:pt x="1723804" y="0"/>
                </a:lnTo>
                <a:lnTo>
                  <a:pt x="1723804" y="1062022"/>
                </a:lnTo>
                <a:lnTo>
                  <a:pt x="0" y="1062022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6" name="Group 6"/>
          <p:cNvGrpSpPr/>
          <p:nvPr/>
        </p:nvGrpSpPr>
        <p:grpSpPr>
          <a:xfrm>
            <a:off x="743429" y="1620026"/>
            <a:ext cx="2016937" cy="339603"/>
            <a:chOff x="0" y="0"/>
            <a:chExt cx="2689249" cy="452804"/>
          </a:xfrm>
        </p:grpSpPr>
        <p:grpSp>
          <p:nvGrpSpPr>
            <p:cNvPr id="7" name="Group 7"/>
            <p:cNvGrpSpPr/>
            <p:nvPr/>
          </p:nvGrpSpPr>
          <p:grpSpPr>
            <a:xfrm>
              <a:off x="0" y="0"/>
              <a:ext cx="2689249" cy="452804"/>
              <a:chOff x="0" y="0"/>
              <a:chExt cx="747014" cy="125779"/>
            </a:xfrm>
          </p:grpSpPr>
          <p:sp>
            <p:nvSpPr>
              <p:cNvPr id="8" name="Freeform 8"/>
              <p:cNvSpPr/>
              <p:nvPr/>
            </p:nvSpPr>
            <p:spPr>
              <a:xfrm>
                <a:off x="0" y="0"/>
                <a:ext cx="747014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747014" h="125779">
                    <a:moveTo>
                      <a:pt x="0" y="0"/>
                    </a:moveTo>
                    <a:lnTo>
                      <a:pt x="747014" y="0"/>
                    </a:lnTo>
                    <a:lnTo>
                      <a:pt x="747014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" name="TextBox 9"/>
              <p:cNvSpPr txBox="1"/>
              <p:nvPr/>
            </p:nvSpPr>
            <p:spPr>
              <a:xfrm>
                <a:off x="0" y="-114300"/>
                <a:ext cx="747014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10" name="TextBox 10"/>
            <p:cNvSpPr txBox="1"/>
            <p:nvPr/>
          </p:nvSpPr>
          <p:spPr>
            <a:xfrm>
              <a:off x="65038" y="18756"/>
              <a:ext cx="2559172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 dirty="0" err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Verkehrssektor</a:t>
              </a:r>
              <a:endParaRPr lang="en-US" sz="1799" b="1" dirty="0">
                <a:solidFill>
                  <a:srgbClr val="FFC80C"/>
                </a:solidFill>
                <a:latin typeface="Open Sans Bold"/>
                <a:ea typeface="Open Sans Bold"/>
                <a:cs typeface="Open Sans Bold"/>
                <a:sym typeface="Open Sans Bold"/>
              </a:endParaRPr>
            </a:p>
          </p:txBody>
        </p:sp>
      </p:grpSp>
      <p:sp>
        <p:nvSpPr>
          <p:cNvPr id="11" name="Freeform 11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5" name="Group 35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6" name="Freeform 36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45" name="TextBox 45"/>
          <p:cNvSpPr txBox="1"/>
          <p:nvPr/>
        </p:nvSpPr>
        <p:spPr>
          <a:xfrm>
            <a:off x="517221" y="2150128"/>
            <a:ext cx="12409180" cy="18969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Nicht nur der kommunale Verkehr muss elektrifiziert werden. Um einen privaten flächendeckenden Umstieg auf e-Mobilität zu ermöglichen, kann die Kommune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en Ausbau der e-Ladestruktur voranbringen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Dazu gehört</a:t>
            </a: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.B. 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fbau öffentlicher Infrastruktur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nach Analyse von Potenzialen und Bedarfen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nformationskampagne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und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rviceangebot der Stadtwerke zu privaten Wallboxen</a:t>
            </a:r>
          </a:p>
        </p:txBody>
      </p:sp>
      <p:sp>
        <p:nvSpPr>
          <p:cNvPr id="46" name="TextBox 46"/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</a:p>
        </p:txBody>
      </p:sp>
      <p:sp>
        <p:nvSpPr>
          <p:cNvPr id="47" name="TextBox 47"/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 Akteure</a:t>
            </a:r>
          </a:p>
        </p:txBody>
      </p:sp>
      <p:sp>
        <p:nvSpPr>
          <p:cNvPr id="49" name="TextBox 49"/>
          <p:cNvSpPr txBox="1"/>
          <p:nvPr/>
        </p:nvSpPr>
        <p:spPr>
          <a:xfrm>
            <a:off x="13469326" y="6989092"/>
            <a:ext cx="4203003" cy="226568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olitischer Beschluss:</a:t>
            </a:r>
            <a:r>
              <a:rPr lang="en-US" sz="1899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tadt-/Gemeinderat </a:t>
            </a: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führung:</a:t>
            </a:r>
            <a:r>
              <a:rPr lang="en-US" sz="1899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Kommunale Verwaltung</a:t>
            </a: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etzung:</a:t>
            </a:r>
            <a:r>
              <a:rPr lang="en-US" sz="1899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tadtwerke, Genossenschaften, Investor:innen </a:t>
            </a:r>
          </a:p>
        </p:txBody>
      </p:sp>
      <p:sp>
        <p:nvSpPr>
          <p:cNvPr id="50" name="TextBox 50"/>
          <p:cNvSpPr txBox="1"/>
          <p:nvPr/>
        </p:nvSpPr>
        <p:spPr>
          <a:xfrm>
            <a:off x="16840200" y="9541473"/>
            <a:ext cx="964187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11</a:t>
            </a:r>
          </a:p>
        </p:txBody>
      </p:sp>
      <p:sp>
        <p:nvSpPr>
          <p:cNvPr id="51" name="TextBox 51"/>
          <p:cNvSpPr txBox="1"/>
          <p:nvPr/>
        </p:nvSpPr>
        <p:spPr>
          <a:xfrm>
            <a:off x="13636773" y="5715305"/>
            <a:ext cx="4035556" cy="4515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Car2Go Charging Station Stuttgart 2023</a:t>
            </a:r>
          </a:p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kimedia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mmons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52" name="Group 52"/>
          <p:cNvGrpSpPr/>
          <p:nvPr/>
        </p:nvGrpSpPr>
        <p:grpSpPr>
          <a:xfrm>
            <a:off x="2760366" y="825897"/>
            <a:ext cx="11894274" cy="884858"/>
            <a:chOff x="0" y="-38100"/>
            <a:chExt cx="15859032" cy="1179810"/>
          </a:xfrm>
        </p:grpSpPr>
        <p:sp>
          <p:nvSpPr>
            <p:cNvPr id="53" name="TextBox 53"/>
            <p:cNvSpPr txBox="1"/>
            <p:nvPr/>
          </p:nvSpPr>
          <p:spPr>
            <a:xfrm>
              <a:off x="0" y="456565"/>
              <a:ext cx="15859032" cy="68514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Ausbau e-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Ladestruktur</a:t>
              </a:r>
              <a:endPara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  <p:sp>
          <p:nvSpPr>
            <p:cNvPr id="54" name="TextBox 54"/>
            <p:cNvSpPr txBox="1"/>
            <p:nvPr/>
          </p:nvSpPr>
          <p:spPr>
            <a:xfrm>
              <a:off x="0" y="-38100"/>
              <a:ext cx="1501112" cy="408574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10</a:t>
              </a:r>
            </a:p>
          </p:txBody>
        </p:sp>
      </p:grpSp>
      <p:grpSp>
        <p:nvGrpSpPr>
          <p:cNvPr id="38" name="Group 55">
            <a:extLst>
              <a:ext uri="{FF2B5EF4-FFF2-40B4-BE49-F238E27FC236}">
                <a16:creationId xmlns:a16="http://schemas.microsoft.com/office/drawing/2014/main" id="{6AC0D203-42FB-AA63-A00F-4C85C2C6FC48}"/>
              </a:ext>
            </a:extLst>
          </p:cNvPr>
          <p:cNvGrpSpPr/>
          <p:nvPr/>
        </p:nvGrpSpPr>
        <p:grpSpPr>
          <a:xfrm>
            <a:off x="-15767" y="2291998"/>
            <a:ext cx="183377" cy="7556180"/>
            <a:chOff x="-34161" y="24949"/>
            <a:chExt cx="244503" cy="10074908"/>
          </a:xfrm>
        </p:grpSpPr>
        <p:sp>
          <p:nvSpPr>
            <p:cNvPr id="39" name="TextBox 56">
              <a:extLst>
                <a:ext uri="{FF2B5EF4-FFF2-40B4-BE49-F238E27FC236}">
                  <a16:creationId xmlns:a16="http://schemas.microsoft.com/office/drawing/2014/main" id="{36AA6E0C-5C46-DF5B-D4DA-343681FF7FC8}"/>
                </a:ext>
              </a:extLst>
            </p:cNvPr>
            <p:cNvSpPr txBox="1"/>
            <p:nvPr/>
          </p:nvSpPr>
          <p:spPr>
            <a:xfrm rot="16200000">
              <a:off x="-4465808" y="4477619"/>
              <a:ext cx="9128820" cy="22348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399"/>
                </a:lnSpc>
              </a:pP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ElektroMobilitätNRW 2024: Aufbau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öffentlicher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adeinfrastruktur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–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ei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eitfad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für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ommunen</a:t>
              </a:r>
              <a:endParaRPr lang="en-US" sz="900" dirty="0">
                <a:solidFill>
                  <a:srgbClr val="011633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8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48" name="TextBox 57">
              <a:extLst>
                <a:ext uri="{FF2B5EF4-FFF2-40B4-BE49-F238E27FC236}">
                  <a16:creationId xmlns:a16="http://schemas.microsoft.com/office/drawing/2014/main" id="{E7209F8B-8841-4E54-8F88-E04C363DE3E6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sp>
        <p:nvSpPr>
          <p:cNvPr id="13" name="TextBox 48">
            <a:extLst>
              <a:ext uri="{FF2B5EF4-FFF2-40B4-BE49-F238E27FC236}">
                <a16:creationId xmlns:a16="http://schemas.microsoft.com/office/drawing/2014/main" id="{B9535A79-0A19-ABF6-91F2-3F5E7C611B57}"/>
              </a:ext>
            </a:extLst>
          </p:cNvPr>
          <p:cNvSpPr txBox="1"/>
          <p:nvPr/>
        </p:nvSpPr>
        <p:spPr>
          <a:xfrm>
            <a:off x="889210" y="7027192"/>
            <a:ext cx="12037191" cy="11275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Enabling-</a:t>
            </a: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rmöglich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Nutz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THG-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rei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kehrsträg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; 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etz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zw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atsächlich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tie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ritte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14" name="Group 12">
            <a:extLst>
              <a:ext uri="{FF2B5EF4-FFF2-40B4-BE49-F238E27FC236}">
                <a16:creationId xmlns:a16="http://schemas.microsoft.com/office/drawing/2014/main" id="{EDEDC687-D990-35DE-B506-C27D1B990780}"/>
              </a:ext>
            </a:extLst>
          </p:cNvPr>
          <p:cNvGrpSpPr/>
          <p:nvPr/>
        </p:nvGrpSpPr>
        <p:grpSpPr>
          <a:xfrm>
            <a:off x="615671" y="7151017"/>
            <a:ext cx="188501" cy="188501"/>
            <a:chOff x="0" y="0"/>
            <a:chExt cx="812800" cy="812800"/>
          </a:xfrm>
        </p:grpSpPr>
        <p:sp>
          <p:nvSpPr>
            <p:cNvPr id="37" name="Freeform 13">
              <a:extLst>
                <a:ext uri="{FF2B5EF4-FFF2-40B4-BE49-F238E27FC236}">
                  <a16:creationId xmlns:a16="http://schemas.microsoft.com/office/drawing/2014/main" id="{7B6B8DC5-6233-529F-1225-8B9AB601DD8D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FC80C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56" name="TextBox 14">
              <a:extLst>
                <a:ext uri="{FF2B5EF4-FFF2-40B4-BE49-F238E27FC236}">
                  <a16:creationId xmlns:a16="http://schemas.microsoft.com/office/drawing/2014/main" id="{85F2AEEA-C756-C3B0-9B18-C4C90297B3B9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61063DD-0844-913B-C789-53E445B28834}"/>
              </a:ext>
            </a:extLst>
          </p:cNvPr>
          <p:cNvGrpSpPr/>
          <p:nvPr/>
        </p:nvGrpSpPr>
        <p:grpSpPr>
          <a:xfrm>
            <a:off x="615671" y="9407587"/>
            <a:ext cx="2144695" cy="440591"/>
            <a:chOff x="0" y="0"/>
            <a:chExt cx="606637" cy="124623"/>
          </a:xfrm>
        </p:grpSpPr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9B6B2365-58B3-B9D1-0F27-E5471BF9E3CF}"/>
                </a:ext>
              </a:extLst>
            </p:cNvPr>
            <p:cNvSpPr/>
            <p:nvPr/>
          </p:nvSpPr>
          <p:spPr>
            <a:xfrm>
              <a:off x="0" y="0"/>
              <a:ext cx="606637" cy="124623"/>
            </a:xfrm>
            <a:custGeom>
              <a:avLst/>
              <a:gdLst/>
              <a:ahLst/>
              <a:cxnLst/>
              <a:rect l="l" t="t" r="r" b="b"/>
              <a:pathLst>
                <a:path w="606637" h="124623">
                  <a:moveTo>
                    <a:pt x="62312" y="0"/>
                  </a:moveTo>
                  <a:lnTo>
                    <a:pt x="544326" y="0"/>
                  </a:lnTo>
                  <a:cubicBezTo>
                    <a:pt x="560852" y="0"/>
                    <a:pt x="576701" y="6565"/>
                    <a:pt x="588387" y="18251"/>
                  </a:cubicBezTo>
                  <a:cubicBezTo>
                    <a:pt x="600072" y="29936"/>
                    <a:pt x="606637" y="45786"/>
                    <a:pt x="606637" y="62312"/>
                  </a:cubicBezTo>
                  <a:lnTo>
                    <a:pt x="606637" y="62312"/>
                  </a:lnTo>
                  <a:cubicBezTo>
                    <a:pt x="606637" y="96725"/>
                    <a:pt x="578740" y="124623"/>
                    <a:pt x="544326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57" name="TextBox 13">
              <a:extLst>
                <a:ext uri="{FF2B5EF4-FFF2-40B4-BE49-F238E27FC236}">
                  <a16:creationId xmlns:a16="http://schemas.microsoft.com/office/drawing/2014/main" id="{60CFDF84-85B4-8224-9917-56E40F279C13}"/>
                </a:ext>
              </a:extLst>
            </p:cNvPr>
            <p:cNvSpPr txBox="1"/>
            <p:nvPr/>
          </p:nvSpPr>
          <p:spPr>
            <a:xfrm>
              <a:off x="0" y="-28575"/>
              <a:ext cx="606637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58" name="TextBox 37">
            <a:extLst>
              <a:ext uri="{FF2B5EF4-FFF2-40B4-BE49-F238E27FC236}">
                <a16:creationId xmlns:a16="http://schemas.microsoft.com/office/drawing/2014/main" id="{016EA8DE-368E-5D5E-064F-942EFEA9A73F}"/>
              </a:ext>
            </a:extLst>
          </p:cNvPr>
          <p:cNvSpPr txBox="1"/>
          <p:nvPr/>
        </p:nvSpPr>
        <p:spPr>
          <a:xfrm>
            <a:off x="1025390" y="9506372"/>
            <a:ext cx="1610695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Öffentliche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Wirkung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59" name="Freeform 26">
            <a:extLst>
              <a:ext uri="{FF2B5EF4-FFF2-40B4-BE49-F238E27FC236}">
                <a16:creationId xmlns:a16="http://schemas.microsoft.com/office/drawing/2014/main" id="{E3F32920-D528-F982-160F-0D85ACFDB60B}"/>
              </a:ext>
            </a:extLst>
          </p:cNvPr>
          <p:cNvSpPr/>
          <p:nvPr/>
        </p:nvSpPr>
        <p:spPr>
          <a:xfrm>
            <a:off x="743429" y="9517028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2"/>
                </a:lnTo>
                <a:lnTo>
                  <a:pt x="0" y="233322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dirty="0"/>
          </a:p>
        </p:txBody>
      </p:sp>
      <p:grpSp>
        <p:nvGrpSpPr>
          <p:cNvPr id="60" name="Group 21">
            <a:extLst>
              <a:ext uri="{FF2B5EF4-FFF2-40B4-BE49-F238E27FC236}">
                <a16:creationId xmlns:a16="http://schemas.microsoft.com/office/drawing/2014/main" id="{1A5984B6-3600-4341-A56E-2EC61FD3E60D}"/>
              </a:ext>
            </a:extLst>
          </p:cNvPr>
          <p:cNvGrpSpPr/>
          <p:nvPr/>
        </p:nvGrpSpPr>
        <p:grpSpPr>
          <a:xfrm>
            <a:off x="2885849" y="9407587"/>
            <a:ext cx="2463783" cy="440591"/>
            <a:chOff x="0" y="0"/>
            <a:chExt cx="696893" cy="124623"/>
          </a:xfrm>
        </p:grpSpPr>
        <p:sp>
          <p:nvSpPr>
            <p:cNvPr id="61" name="Freeform 22">
              <a:extLst>
                <a:ext uri="{FF2B5EF4-FFF2-40B4-BE49-F238E27FC236}">
                  <a16:creationId xmlns:a16="http://schemas.microsoft.com/office/drawing/2014/main" id="{93904AE0-432E-E610-5AF4-2BF3B158A927}"/>
                </a:ext>
              </a:extLst>
            </p:cNvPr>
            <p:cNvSpPr/>
            <p:nvPr/>
          </p:nvSpPr>
          <p:spPr>
            <a:xfrm>
              <a:off x="0" y="0"/>
              <a:ext cx="696893" cy="124623"/>
            </a:xfrm>
            <a:custGeom>
              <a:avLst/>
              <a:gdLst/>
              <a:ahLst/>
              <a:cxnLst/>
              <a:rect l="l" t="t" r="r" b="b"/>
              <a:pathLst>
                <a:path w="696893" h="124623">
                  <a:moveTo>
                    <a:pt x="62312" y="0"/>
                  </a:moveTo>
                  <a:lnTo>
                    <a:pt x="634582" y="0"/>
                  </a:lnTo>
                  <a:cubicBezTo>
                    <a:pt x="651108" y="0"/>
                    <a:pt x="666957" y="6565"/>
                    <a:pt x="678643" y="18251"/>
                  </a:cubicBezTo>
                  <a:cubicBezTo>
                    <a:pt x="690328" y="29936"/>
                    <a:pt x="696893" y="45786"/>
                    <a:pt x="696893" y="62312"/>
                  </a:cubicBezTo>
                  <a:lnTo>
                    <a:pt x="696893" y="62312"/>
                  </a:lnTo>
                  <a:cubicBezTo>
                    <a:pt x="696893" y="78838"/>
                    <a:pt x="690328" y="94687"/>
                    <a:pt x="678643" y="106373"/>
                  </a:cubicBezTo>
                  <a:cubicBezTo>
                    <a:pt x="666957" y="118058"/>
                    <a:pt x="651108" y="124623"/>
                    <a:pt x="634582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62" name="TextBox 23">
              <a:extLst>
                <a:ext uri="{FF2B5EF4-FFF2-40B4-BE49-F238E27FC236}">
                  <a16:creationId xmlns:a16="http://schemas.microsoft.com/office/drawing/2014/main" id="{C8AD43DA-6551-9581-A471-4070FE89FE01}"/>
                </a:ext>
              </a:extLst>
            </p:cNvPr>
            <p:cNvSpPr txBox="1"/>
            <p:nvPr/>
          </p:nvSpPr>
          <p:spPr>
            <a:xfrm>
              <a:off x="0" y="-28575"/>
              <a:ext cx="696893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63" name="Freeform 34">
            <a:extLst>
              <a:ext uri="{FF2B5EF4-FFF2-40B4-BE49-F238E27FC236}">
                <a16:creationId xmlns:a16="http://schemas.microsoft.com/office/drawing/2014/main" id="{DC147922-6709-6C44-3D04-368C1F96351F}"/>
              </a:ext>
            </a:extLst>
          </p:cNvPr>
          <p:cNvSpPr/>
          <p:nvPr/>
        </p:nvSpPr>
        <p:spPr>
          <a:xfrm>
            <a:off x="3009674" y="9511221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3"/>
                </a:lnTo>
                <a:lnTo>
                  <a:pt x="0" y="233323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64" name="TextBox 38">
            <a:extLst>
              <a:ext uri="{FF2B5EF4-FFF2-40B4-BE49-F238E27FC236}">
                <a16:creationId xmlns:a16="http://schemas.microsoft.com/office/drawing/2014/main" id="{BD134F1A-37B0-E7B5-34B5-F0960B99171E}"/>
              </a:ext>
            </a:extLst>
          </p:cNvPr>
          <p:cNvSpPr txBox="1"/>
          <p:nvPr/>
        </p:nvSpPr>
        <p:spPr>
          <a:xfrm>
            <a:off x="3281288" y="9506372"/>
            <a:ext cx="1912102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Einfache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Umsetzbarkeit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pic>
        <p:nvPicPr>
          <p:cNvPr id="65" name="Grafik 64" descr="Sterne mit einfarbiger Füllung">
            <a:extLst>
              <a:ext uri="{FF2B5EF4-FFF2-40B4-BE49-F238E27FC236}">
                <a16:creationId xmlns:a16="http://schemas.microsoft.com/office/drawing/2014/main" id="{EA96D417-6B39-1AF5-B504-5219D5B92B4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404984" y="9396484"/>
            <a:ext cx="457200" cy="457200"/>
          </a:xfrm>
          <a:prstGeom prst="rect">
            <a:avLst/>
          </a:prstGeom>
        </p:spPr>
      </p:pic>
      <p:sp>
        <p:nvSpPr>
          <p:cNvPr id="66" name="TextBox 34">
            <a:extLst>
              <a:ext uri="{FF2B5EF4-FFF2-40B4-BE49-F238E27FC236}">
                <a16:creationId xmlns:a16="http://schemas.microsoft.com/office/drawing/2014/main" id="{FD1D51B6-93FF-9599-B2CF-BE7B1DF95EE3}"/>
              </a:ext>
            </a:extLst>
          </p:cNvPr>
          <p:cNvSpPr txBox="1"/>
          <p:nvPr/>
        </p:nvSpPr>
        <p:spPr>
          <a:xfrm>
            <a:off x="5892879" y="9506372"/>
            <a:ext cx="4851321" cy="2208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rrichtung von E-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adesäulen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urch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Stadtwerke Buchholz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</p:spTree>
    <p:extLst>
      <p:ext uri="{BB962C8B-B14F-4D97-AF65-F5344CB8AC3E}">
        <p14:creationId xmlns:p14="http://schemas.microsoft.com/office/powerpoint/2010/main" val="10796056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5" name="Freeform 5"/>
          <p:cNvSpPr/>
          <p:nvPr/>
        </p:nvSpPr>
        <p:spPr>
          <a:xfrm>
            <a:off x="912280" y="558004"/>
            <a:ext cx="1723804" cy="1062022"/>
          </a:xfrm>
          <a:custGeom>
            <a:avLst/>
            <a:gdLst/>
            <a:ahLst/>
            <a:cxnLst/>
            <a:rect l="l" t="t" r="r" b="b"/>
            <a:pathLst>
              <a:path w="1723804" h="1062022">
                <a:moveTo>
                  <a:pt x="0" y="0"/>
                </a:moveTo>
                <a:lnTo>
                  <a:pt x="1723804" y="0"/>
                </a:lnTo>
                <a:lnTo>
                  <a:pt x="1723804" y="1062022"/>
                </a:lnTo>
                <a:lnTo>
                  <a:pt x="0" y="1062022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6" name="Group 6"/>
          <p:cNvGrpSpPr/>
          <p:nvPr/>
        </p:nvGrpSpPr>
        <p:grpSpPr>
          <a:xfrm>
            <a:off x="743429" y="1620026"/>
            <a:ext cx="2016937" cy="339603"/>
            <a:chOff x="0" y="0"/>
            <a:chExt cx="2689249" cy="452804"/>
          </a:xfrm>
        </p:grpSpPr>
        <p:grpSp>
          <p:nvGrpSpPr>
            <p:cNvPr id="7" name="Group 7"/>
            <p:cNvGrpSpPr/>
            <p:nvPr/>
          </p:nvGrpSpPr>
          <p:grpSpPr>
            <a:xfrm>
              <a:off x="0" y="0"/>
              <a:ext cx="2689249" cy="452804"/>
              <a:chOff x="0" y="0"/>
              <a:chExt cx="747014" cy="125779"/>
            </a:xfrm>
          </p:grpSpPr>
          <p:sp>
            <p:nvSpPr>
              <p:cNvPr id="8" name="Freeform 8"/>
              <p:cNvSpPr/>
              <p:nvPr/>
            </p:nvSpPr>
            <p:spPr>
              <a:xfrm>
                <a:off x="0" y="0"/>
                <a:ext cx="747014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747014" h="125779">
                    <a:moveTo>
                      <a:pt x="0" y="0"/>
                    </a:moveTo>
                    <a:lnTo>
                      <a:pt x="747014" y="0"/>
                    </a:lnTo>
                    <a:lnTo>
                      <a:pt x="747014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" name="TextBox 9"/>
              <p:cNvSpPr txBox="1"/>
              <p:nvPr/>
            </p:nvSpPr>
            <p:spPr>
              <a:xfrm>
                <a:off x="0" y="-114300"/>
                <a:ext cx="747014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10" name="TextBox 10"/>
            <p:cNvSpPr txBox="1"/>
            <p:nvPr/>
          </p:nvSpPr>
          <p:spPr>
            <a:xfrm>
              <a:off x="65038" y="18756"/>
              <a:ext cx="2559172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 dirty="0" err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Verkehrssektor</a:t>
              </a:r>
              <a:endParaRPr lang="en-US" sz="1799" b="1" dirty="0">
                <a:solidFill>
                  <a:srgbClr val="FFC80C"/>
                </a:solidFill>
                <a:latin typeface="Open Sans Bold"/>
                <a:ea typeface="Open Sans Bold"/>
                <a:cs typeface="Open Sans Bold"/>
                <a:sym typeface="Open Sans Bold"/>
              </a:endParaRPr>
            </a:p>
          </p:txBody>
        </p:sp>
      </p:grpSp>
      <p:sp>
        <p:nvSpPr>
          <p:cNvPr id="11" name="Freeform 11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0" name="TextBox 50"/>
          <p:cNvSpPr txBox="1"/>
          <p:nvPr/>
        </p:nvSpPr>
        <p:spPr>
          <a:xfrm>
            <a:off x="16996994" y="9541473"/>
            <a:ext cx="807393" cy="33972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1</a:t>
            </a:r>
          </a:p>
        </p:txBody>
      </p:sp>
      <p:sp>
        <p:nvSpPr>
          <p:cNvPr id="53" name="TextBox 53"/>
          <p:cNvSpPr txBox="1"/>
          <p:nvPr/>
        </p:nvSpPr>
        <p:spPr>
          <a:xfrm>
            <a:off x="2760366" y="1196896"/>
            <a:ext cx="11894274" cy="51385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4200"/>
              </a:lnSpc>
            </a:pPr>
            <a:r>
              <a: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TOP-</a:t>
            </a:r>
            <a:r>
              <a:rPr lang="en-US" sz="3000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</a:t>
            </a:r>
            <a:r>
              <a: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Sektor </a:t>
            </a:r>
            <a:r>
              <a:rPr lang="en-US" sz="3000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Verkehr</a:t>
            </a:r>
            <a:endParaRPr lang="en-US" sz="3000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56" name="TextBox 43">
            <a:extLst>
              <a:ext uri="{FF2B5EF4-FFF2-40B4-BE49-F238E27FC236}">
                <a16:creationId xmlns:a16="http://schemas.microsoft.com/office/drawing/2014/main" id="{C9148214-3533-E9A6-7F0B-74173288B4BD}"/>
              </a:ext>
            </a:extLst>
          </p:cNvPr>
          <p:cNvSpPr txBox="1"/>
          <p:nvPr/>
        </p:nvSpPr>
        <p:spPr>
          <a:xfrm>
            <a:off x="517221" y="2125513"/>
            <a:ext cx="17155108" cy="70160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799"/>
              </a:lnSpc>
            </a:pP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en:		Enabling-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</a:t>
            </a: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			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Planerische</a:t>
            </a: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</a:t>
            </a: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		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Technische</a:t>
            </a: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</a:t>
            </a:r>
            <a:endParaRPr lang="en-US" sz="1999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  <a:p>
            <a:pPr>
              <a:lnSpc>
                <a:spcPts val="2799"/>
              </a:lnSpc>
            </a:pP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				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Enabling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Dritter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, die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techn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.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Maßnahme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umzusetzen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 		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Veränderung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 der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Rahmenbedingungen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			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Einsparungen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bspw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.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durch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Einschränkung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 des MIVs</a:t>
            </a:r>
          </a:p>
        </p:txBody>
      </p:sp>
      <p:sp>
        <p:nvSpPr>
          <p:cNvPr id="57" name="Freeform 13">
            <a:extLst>
              <a:ext uri="{FF2B5EF4-FFF2-40B4-BE49-F238E27FC236}">
                <a16:creationId xmlns:a16="http://schemas.microsoft.com/office/drawing/2014/main" id="{3EF983A2-2D91-576D-5AE3-4724E045CD90}"/>
              </a:ext>
            </a:extLst>
          </p:cNvPr>
          <p:cNvSpPr/>
          <p:nvPr/>
        </p:nvSpPr>
        <p:spPr>
          <a:xfrm>
            <a:off x="3874726" y="2217706"/>
            <a:ext cx="188501" cy="188501"/>
          </a:xfrm>
          <a:custGeom>
            <a:avLst/>
            <a:gdLst/>
            <a:ahLst/>
            <a:cxnLst/>
            <a:rect l="l" t="t" r="r" b="b"/>
            <a:pathLst>
              <a:path w="812800" h="81280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FFC80C"/>
          </a:solidFill>
        </p:spPr>
        <p:txBody>
          <a:bodyPr/>
          <a:lstStyle/>
          <a:p>
            <a:endParaRPr lang="en-US"/>
          </a:p>
        </p:txBody>
      </p:sp>
      <p:grpSp>
        <p:nvGrpSpPr>
          <p:cNvPr id="59" name="Group 52">
            <a:extLst>
              <a:ext uri="{FF2B5EF4-FFF2-40B4-BE49-F238E27FC236}">
                <a16:creationId xmlns:a16="http://schemas.microsoft.com/office/drawing/2014/main" id="{5E40BD47-E553-6435-7ACF-72154B3E85BA}"/>
              </a:ext>
            </a:extLst>
          </p:cNvPr>
          <p:cNvGrpSpPr/>
          <p:nvPr/>
        </p:nvGrpSpPr>
        <p:grpSpPr>
          <a:xfrm>
            <a:off x="8422875" y="2217705"/>
            <a:ext cx="188501" cy="188501"/>
            <a:chOff x="0" y="0"/>
            <a:chExt cx="812800" cy="812800"/>
          </a:xfrm>
        </p:grpSpPr>
        <p:sp>
          <p:nvSpPr>
            <p:cNvPr id="60" name="Freeform 53">
              <a:extLst>
                <a:ext uri="{FF2B5EF4-FFF2-40B4-BE49-F238E27FC236}">
                  <a16:creationId xmlns:a16="http://schemas.microsoft.com/office/drawing/2014/main" id="{CD30FD5B-D0BC-BC38-8C6D-E6973E5A223B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1" name="TextBox 54">
              <a:extLst>
                <a:ext uri="{FF2B5EF4-FFF2-40B4-BE49-F238E27FC236}">
                  <a16:creationId xmlns:a16="http://schemas.microsoft.com/office/drawing/2014/main" id="{CFCB11BC-07A5-002E-141A-3A09F5749876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sp>
        <p:nvSpPr>
          <p:cNvPr id="62" name="Flussdiagramm: Verbinder 61">
            <a:extLst>
              <a:ext uri="{FF2B5EF4-FFF2-40B4-BE49-F238E27FC236}">
                <a16:creationId xmlns:a16="http://schemas.microsoft.com/office/drawing/2014/main" id="{6F5DE425-F737-160D-2417-6657B2309710}"/>
              </a:ext>
            </a:extLst>
          </p:cNvPr>
          <p:cNvSpPr/>
          <p:nvPr/>
        </p:nvSpPr>
        <p:spPr>
          <a:xfrm>
            <a:off x="13047602" y="2221570"/>
            <a:ext cx="188501" cy="188497"/>
          </a:xfrm>
          <a:prstGeom prst="flowChartConnector">
            <a:avLst/>
          </a:prstGeom>
          <a:solidFill>
            <a:srgbClr val="00AE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3" name="TextBox 42">
            <a:extLst>
              <a:ext uri="{FF2B5EF4-FFF2-40B4-BE49-F238E27FC236}">
                <a16:creationId xmlns:a16="http://schemas.microsoft.com/office/drawing/2014/main" id="{9E18CFCB-CE37-52DE-BF17-2EBD5A12DC7E}"/>
              </a:ext>
            </a:extLst>
          </p:cNvPr>
          <p:cNvSpPr txBox="1"/>
          <p:nvPr/>
        </p:nvSpPr>
        <p:spPr>
          <a:xfrm>
            <a:off x="517221" y="3238500"/>
            <a:ext cx="17155108" cy="382059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01			Mobilitätsplanung mit Fokus auf Ausbau Rad- und Fußinfrastruktur und ÖPNV-Entwicklung</a:t>
            </a: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02			Einführung von Geschwindigkeitsbegrenzungen</a:t>
            </a: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03			Ausbau Radverkehr</a:t>
            </a: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04			Ausbau und Attraktivierung des ÖPNV-Angebots</a:t>
            </a: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05			Einkauf Elektrobusse für den ÖPNV </a:t>
            </a: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06			Reduktion der Flächen für den Individualverkehr</a:t>
            </a: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07			Umstellung kommunaler Fuhrpark und Angebote für </a:t>
            </a:r>
            <a:r>
              <a:rPr lang="de-DE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itarbeiter:innen</a:t>
            </a:r>
            <a:endParaRPr lang="de-DE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08			Unterstützung und Begleitung des betrieblichen Mobilitätsmanagements</a:t>
            </a: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09			Schaffung von Anreizen für reduzierte PKW-Nutzung</a:t>
            </a: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10			Ausbau e-Ladestruktur</a:t>
            </a:r>
          </a:p>
        </p:txBody>
      </p:sp>
      <p:sp>
        <p:nvSpPr>
          <p:cNvPr id="70" name="Flussdiagramm: Verbinder 69">
            <a:extLst>
              <a:ext uri="{FF2B5EF4-FFF2-40B4-BE49-F238E27FC236}">
                <a16:creationId xmlns:a16="http://schemas.microsoft.com/office/drawing/2014/main" id="{0A41451F-EC34-B415-26A1-EAF763111609}"/>
              </a:ext>
            </a:extLst>
          </p:cNvPr>
          <p:cNvSpPr/>
          <p:nvPr/>
        </p:nvSpPr>
        <p:spPr>
          <a:xfrm>
            <a:off x="2818929" y="4886083"/>
            <a:ext cx="188501" cy="188497"/>
          </a:xfrm>
          <a:prstGeom prst="flowChartConnector">
            <a:avLst/>
          </a:prstGeom>
          <a:solidFill>
            <a:srgbClr val="00AE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1" name="Flussdiagramm: Verbinder 70">
            <a:extLst>
              <a:ext uri="{FF2B5EF4-FFF2-40B4-BE49-F238E27FC236}">
                <a16:creationId xmlns:a16="http://schemas.microsoft.com/office/drawing/2014/main" id="{E5A65C19-B5AA-4F7B-C1CA-9AB5978D8493}"/>
              </a:ext>
            </a:extLst>
          </p:cNvPr>
          <p:cNvSpPr/>
          <p:nvPr/>
        </p:nvSpPr>
        <p:spPr>
          <a:xfrm>
            <a:off x="2818929" y="5264189"/>
            <a:ext cx="188501" cy="188497"/>
          </a:xfrm>
          <a:prstGeom prst="flowChartConnector">
            <a:avLst/>
          </a:prstGeom>
          <a:solidFill>
            <a:srgbClr val="00AE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2" name="Flussdiagramm: Verbinder 71">
            <a:extLst>
              <a:ext uri="{FF2B5EF4-FFF2-40B4-BE49-F238E27FC236}">
                <a16:creationId xmlns:a16="http://schemas.microsoft.com/office/drawing/2014/main" id="{1F1C8123-B67F-B669-0E0C-7B60A4EE1DE2}"/>
              </a:ext>
            </a:extLst>
          </p:cNvPr>
          <p:cNvSpPr/>
          <p:nvPr/>
        </p:nvSpPr>
        <p:spPr>
          <a:xfrm>
            <a:off x="2818929" y="5642295"/>
            <a:ext cx="188501" cy="188497"/>
          </a:xfrm>
          <a:prstGeom prst="flowChartConnector">
            <a:avLst/>
          </a:prstGeom>
          <a:solidFill>
            <a:srgbClr val="00AE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3" name="Freeform 13">
            <a:extLst>
              <a:ext uri="{FF2B5EF4-FFF2-40B4-BE49-F238E27FC236}">
                <a16:creationId xmlns:a16="http://schemas.microsoft.com/office/drawing/2014/main" id="{1876AA86-F8D0-46B1-EB6F-3323B7B339E0}"/>
              </a:ext>
            </a:extLst>
          </p:cNvPr>
          <p:cNvSpPr/>
          <p:nvPr/>
        </p:nvSpPr>
        <p:spPr>
          <a:xfrm>
            <a:off x="2267836" y="4099187"/>
            <a:ext cx="188501" cy="188501"/>
          </a:xfrm>
          <a:custGeom>
            <a:avLst/>
            <a:gdLst/>
            <a:ahLst/>
            <a:cxnLst/>
            <a:rect l="l" t="t" r="r" b="b"/>
            <a:pathLst>
              <a:path w="812800" h="81280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FFC80C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74" name="Freeform 13">
            <a:extLst>
              <a:ext uri="{FF2B5EF4-FFF2-40B4-BE49-F238E27FC236}">
                <a16:creationId xmlns:a16="http://schemas.microsoft.com/office/drawing/2014/main" id="{600A5DD5-2F06-92F0-2F57-978DBC778DEA}"/>
              </a:ext>
            </a:extLst>
          </p:cNvPr>
          <p:cNvSpPr/>
          <p:nvPr/>
        </p:nvSpPr>
        <p:spPr>
          <a:xfrm>
            <a:off x="2267836" y="4476659"/>
            <a:ext cx="188501" cy="188501"/>
          </a:xfrm>
          <a:custGeom>
            <a:avLst/>
            <a:gdLst/>
            <a:ahLst/>
            <a:cxnLst/>
            <a:rect l="l" t="t" r="r" b="b"/>
            <a:pathLst>
              <a:path w="812800" h="81280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FFC80C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75" name="Freeform 13">
            <a:extLst>
              <a:ext uri="{FF2B5EF4-FFF2-40B4-BE49-F238E27FC236}">
                <a16:creationId xmlns:a16="http://schemas.microsoft.com/office/drawing/2014/main" id="{19338D7E-CDF8-EE40-197E-2314538BC87F}"/>
              </a:ext>
            </a:extLst>
          </p:cNvPr>
          <p:cNvSpPr/>
          <p:nvPr/>
        </p:nvSpPr>
        <p:spPr>
          <a:xfrm>
            <a:off x="2267835" y="5999313"/>
            <a:ext cx="188501" cy="188501"/>
          </a:xfrm>
          <a:custGeom>
            <a:avLst/>
            <a:gdLst/>
            <a:ahLst/>
            <a:cxnLst/>
            <a:rect l="l" t="t" r="r" b="b"/>
            <a:pathLst>
              <a:path w="812800" h="81280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FFC80C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76" name="Freeform 13">
            <a:extLst>
              <a:ext uri="{FF2B5EF4-FFF2-40B4-BE49-F238E27FC236}">
                <a16:creationId xmlns:a16="http://schemas.microsoft.com/office/drawing/2014/main" id="{023268BB-15CA-2898-E28B-AFA5CD9F845D}"/>
              </a:ext>
            </a:extLst>
          </p:cNvPr>
          <p:cNvSpPr/>
          <p:nvPr/>
        </p:nvSpPr>
        <p:spPr>
          <a:xfrm>
            <a:off x="2267835" y="6376785"/>
            <a:ext cx="188501" cy="188501"/>
          </a:xfrm>
          <a:custGeom>
            <a:avLst/>
            <a:gdLst/>
            <a:ahLst/>
            <a:cxnLst/>
            <a:rect l="l" t="t" r="r" b="b"/>
            <a:pathLst>
              <a:path w="812800" h="81280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FFC80C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77" name="Freeform 13">
            <a:extLst>
              <a:ext uri="{FF2B5EF4-FFF2-40B4-BE49-F238E27FC236}">
                <a16:creationId xmlns:a16="http://schemas.microsoft.com/office/drawing/2014/main" id="{BB6D3ABA-AAEC-5BE9-C741-FBE9FB8A8941}"/>
              </a:ext>
            </a:extLst>
          </p:cNvPr>
          <p:cNvSpPr/>
          <p:nvPr/>
        </p:nvSpPr>
        <p:spPr>
          <a:xfrm>
            <a:off x="2267835" y="6750442"/>
            <a:ext cx="188501" cy="188501"/>
          </a:xfrm>
          <a:custGeom>
            <a:avLst/>
            <a:gdLst/>
            <a:ahLst/>
            <a:cxnLst/>
            <a:rect l="l" t="t" r="r" b="b"/>
            <a:pathLst>
              <a:path w="812800" h="81280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FFC80C"/>
          </a:solidFill>
        </p:spPr>
        <p:txBody>
          <a:bodyPr/>
          <a:lstStyle/>
          <a:p>
            <a:endParaRPr lang="en-US" dirty="0"/>
          </a:p>
        </p:txBody>
      </p:sp>
      <p:grpSp>
        <p:nvGrpSpPr>
          <p:cNvPr id="78" name="Group 52">
            <a:extLst>
              <a:ext uri="{FF2B5EF4-FFF2-40B4-BE49-F238E27FC236}">
                <a16:creationId xmlns:a16="http://schemas.microsoft.com/office/drawing/2014/main" id="{B83D0858-88F5-0A4E-EEF8-919EC48F7164}"/>
              </a:ext>
            </a:extLst>
          </p:cNvPr>
          <p:cNvGrpSpPr/>
          <p:nvPr/>
        </p:nvGrpSpPr>
        <p:grpSpPr>
          <a:xfrm>
            <a:off x="2541833" y="3347331"/>
            <a:ext cx="188501" cy="188501"/>
            <a:chOff x="0" y="0"/>
            <a:chExt cx="812800" cy="812800"/>
          </a:xfrm>
        </p:grpSpPr>
        <p:sp>
          <p:nvSpPr>
            <p:cNvPr id="79" name="Freeform 53">
              <a:extLst>
                <a:ext uri="{FF2B5EF4-FFF2-40B4-BE49-F238E27FC236}">
                  <a16:creationId xmlns:a16="http://schemas.microsoft.com/office/drawing/2014/main" id="{3D57F672-302A-F233-A4CD-758EC9FA0928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 dirty="0">
                <a:solidFill>
                  <a:srgbClr val="112540"/>
                </a:solidFill>
              </a:endParaRPr>
            </a:p>
          </p:txBody>
        </p:sp>
        <p:sp>
          <p:nvSpPr>
            <p:cNvPr id="80" name="TextBox 54">
              <a:extLst>
                <a:ext uri="{FF2B5EF4-FFF2-40B4-BE49-F238E27FC236}">
                  <a16:creationId xmlns:a16="http://schemas.microsoft.com/office/drawing/2014/main" id="{578AD17D-81A1-C5F7-3957-DF41FC7BA9BA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 dirty="0">
                <a:solidFill>
                  <a:srgbClr val="112540"/>
                </a:solidFill>
              </a:endParaRPr>
            </a:p>
          </p:txBody>
        </p:sp>
      </p:grpSp>
      <p:grpSp>
        <p:nvGrpSpPr>
          <p:cNvPr id="81" name="Group 52">
            <a:extLst>
              <a:ext uri="{FF2B5EF4-FFF2-40B4-BE49-F238E27FC236}">
                <a16:creationId xmlns:a16="http://schemas.microsoft.com/office/drawing/2014/main" id="{63DA6655-2C97-C71E-F476-8954F54E4F39}"/>
              </a:ext>
            </a:extLst>
          </p:cNvPr>
          <p:cNvGrpSpPr/>
          <p:nvPr/>
        </p:nvGrpSpPr>
        <p:grpSpPr>
          <a:xfrm>
            <a:off x="2541833" y="3732897"/>
            <a:ext cx="188501" cy="188501"/>
            <a:chOff x="0" y="0"/>
            <a:chExt cx="812800" cy="812800"/>
          </a:xfrm>
        </p:grpSpPr>
        <p:sp>
          <p:nvSpPr>
            <p:cNvPr id="82" name="Freeform 53">
              <a:extLst>
                <a:ext uri="{FF2B5EF4-FFF2-40B4-BE49-F238E27FC236}">
                  <a16:creationId xmlns:a16="http://schemas.microsoft.com/office/drawing/2014/main" id="{0DFC3E3D-4C79-AE7C-6D27-996E54C7D4F0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 dirty="0">
                <a:solidFill>
                  <a:srgbClr val="112540"/>
                </a:solidFill>
              </a:endParaRPr>
            </a:p>
          </p:txBody>
        </p:sp>
        <p:sp>
          <p:nvSpPr>
            <p:cNvPr id="83" name="TextBox 54">
              <a:extLst>
                <a:ext uri="{FF2B5EF4-FFF2-40B4-BE49-F238E27FC236}">
                  <a16:creationId xmlns:a16="http://schemas.microsoft.com/office/drawing/2014/main" id="{94374C72-CF3B-8CA4-2A3A-26FD331F40B3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 dirty="0">
                <a:solidFill>
                  <a:srgbClr val="112540"/>
                </a:solidFill>
              </a:endParaRPr>
            </a:p>
          </p:txBody>
        </p:sp>
      </p:grpSp>
      <p:sp>
        <p:nvSpPr>
          <p:cNvPr id="84" name="Freeform 13">
            <a:extLst>
              <a:ext uri="{FF2B5EF4-FFF2-40B4-BE49-F238E27FC236}">
                <a16:creationId xmlns:a16="http://schemas.microsoft.com/office/drawing/2014/main" id="{A273C0B6-6D11-4085-5D8E-B5E4FCBCB012}"/>
              </a:ext>
            </a:extLst>
          </p:cNvPr>
          <p:cNvSpPr/>
          <p:nvPr/>
        </p:nvSpPr>
        <p:spPr>
          <a:xfrm>
            <a:off x="2267834" y="5642291"/>
            <a:ext cx="188501" cy="188501"/>
          </a:xfrm>
          <a:custGeom>
            <a:avLst/>
            <a:gdLst/>
            <a:ahLst/>
            <a:cxnLst/>
            <a:rect l="l" t="t" r="r" b="b"/>
            <a:pathLst>
              <a:path w="812800" h="81280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FFC80C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52923CE4-E2F1-468C-2EB2-68F8E04834D9}"/>
              </a:ext>
            </a:extLst>
          </p:cNvPr>
          <p:cNvSpPr/>
          <p:nvPr/>
        </p:nvSpPr>
        <p:spPr>
          <a:xfrm>
            <a:off x="3225027" y="3280066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905148F-E855-1566-DBC0-84BF4C2CC907}"/>
              </a:ext>
            </a:extLst>
          </p:cNvPr>
          <p:cNvSpPr txBox="1"/>
          <p:nvPr/>
        </p:nvSpPr>
        <p:spPr>
          <a:xfrm>
            <a:off x="3301227" y="3270168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DM Sans 2" panose="020B0604020202020204" charset="0"/>
              </a:rPr>
              <a:t>Prio</a:t>
            </a:r>
            <a:r>
              <a:rPr lang="en-US" sz="1200" b="1" dirty="0">
                <a:solidFill>
                  <a:schemeClr val="bg1"/>
                </a:solidFill>
                <a:latin typeface="DM Sans 2" panose="020B0604020202020204" charset="0"/>
              </a:rPr>
              <a:t> A</a:t>
            </a: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8EC0BAFE-75B9-9D34-2763-C0F70AD9C09B}"/>
              </a:ext>
            </a:extLst>
          </p:cNvPr>
          <p:cNvSpPr/>
          <p:nvPr/>
        </p:nvSpPr>
        <p:spPr>
          <a:xfrm>
            <a:off x="3225027" y="3652804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CC9ED997-CD8F-1DD5-5BDC-389BA9924B5E}"/>
              </a:ext>
            </a:extLst>
          </p:cNvPr>
          <p:cNvSpPr/>
          <p:nvPr/>
        </p:nvSpPr>
        <p:spPr>
          <a:xfrm>
            <a:off x="3225027" y="4028664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BDEF3DB5-ABE9-48AD-7CAB-DD5051CD60A1}"/>
              </a:ext>
            </a:extLst>
          </p:cNvPr>
          <p:cNvSpPr/>
          <p:nvPr/>
        </p:nvSpPr>
        <p:spPr>
          <a:xfrm>
            <a:off x="3225027" y="4404524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7BAB66B0-67F4-2273-66F9-EA753FA00E8D}"/>
              </a:ext>
            </a:extLst>
          </p:cNvPr>
          <p:cNvSpPr/>
          <p:nvPr/>
        </p:nvSpPr>
        <p:spPr>
          <a:xfrm>
            <a:off x="3225027" y="4797581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91EBDAFC-5E62-170D-3C22-082FEC8069B0}"/>
              </a:ext>
            </a:extLst>
          </p:cNvPr>
          <p:cNvSpPr/>
          <p:nvPr/>
        </p:nvSpPr>
        <p:spPr>
          <a:xfrm>
            <a:off x="3225027" y="5190638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790454CD-5DE9-FD32-E12B-70A95A886EF7}"/>
              </a:ext>
            </a:extLst>
          </p:cNvPr>
          <p:cNvSpPr/>
          <p:nvPr/>
        </p:nvSpPr>
        <p:spPr>
          <a:xfrm>
            <a:off x="3225027" y="5566395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749EE047-41F1-7A3B-A8DA-5ED13A1464D4}"/>
              </a:ext>
            </a:extLst>
          </p:cNvPr>
          <p:cNvSpPr/>
          <p:nvPr/>
        </p:nvSpPr>
        <p:spPr>
          <a:xfrm>
            <a:off x="3225027" y="5936989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2A4F67D9-1E96-3292-189E-87FDD66AFFC6}"/>
              </a:ext>
            </a:extLst>
          </p:cNvPr>
          <p:cNvSpPr/>
          <p:nvPr/>
        </p:nvSpPr>
        <p:spPr>
          <a:xfrm>
            <a:off x="3225027" y="6307583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713181D6-E365-C833-FBBC-8D70DC259A91}"/>
              </a:ext>
            </a:extLst>
          </p:cNvPr>
          <p:cNvSpPr/>
          <p:nvPr/>
        </p:nvSpPr>
        <p:spPr>
          <a:xfrm>
            <a:off x="3225027" y="6678177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3E5E3004-0B94-5025-13AD-5A32FF881A58}"/>
              </a:ext>
            </a:extLst>
          </p:cNvPr>
          <p:cNvSpPr txBox="1"/>
          <p:nvPr/>
        </p:nvSpPr>
        <p:spPr>
          <a:xfrm>
            <a:off x="3301227" y="3652804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DM Sans 2" panose="020B0604020202020204" charset="0"/>
              </a:rPr>
              <a:t>Prio</a:t>
            </a:r>
            <a:r>
              <a:rPr lang="en-US" sz="1200" b="1" dirty="0">
                <a:solidFill>
                  <a:schemeClr val="bg1"/>
                </a:solidFill>
                <a:latin typeface="DM Sans 2" panose="020B0604020202020204" charset="0"/>
              </a:rPr>
              <a:t> A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50070976-3FFF-B92D-6652-0817C714DC7A}"/>
              </a:ext>
            </a:extLst>
          </p:cNvPr>
          <p:cNvSpPr txBox="1"/>
          <p:nvPr/>
        </p:nvSpPr>
        <p:spPr>
          <a:xfrm>
            <a:off x="3301227" y="4023398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DM Sans 2" panose="020B0604020202020204" charset="0"/>
              </a:rPr>
              <a:t>Prio</a:t>
            </a:r>
            <a:r>
              <a:rPr lang="en-US" sz="1200" b="1" dirty="0">
                <a:solidFill>
                  <a:schemeClr val="bg1"/>
                </a:solidFill>
                <a:latin typeface="DM Sans 2" panose="020B0604020202020204" charset="0"/>
              </a:rPr>
              <a:t> A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39FA3BBA-54B8-3158-1213-D5B71829A603}"/>
              </a:ext>
            </a:extLst>
          </p:cNvPr>
          <p:cNvSpPr txBox="1"/>
          <p:nvPr/>
        </p:nvSpPr>
        <p:spPr>
          <a:xfrm>
            <a:off x="3301227" y="4404524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DM Sans 2" panose="020B0604020202020204" charset="0"/>
              </a:rPr>
              <a:t>Prio</a:t>
            </a:r>
            <a:r>
              <a:rPr lang="en-US" sz="1200" b="1" dirty="0">
                <a:solidFill>
                  <a:schemeClr val="bg1"/>
                </a:solidFill>
                <a:latin typeface="DM Sans 2" panose="020B0604020202020204" charset="0"/>
              </a:rPr>
              <a:t> A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0FCAFD35-82B1-668A-A482-162A62169E2A}"/>
              </a:ext>
            </a:extLst>
          </p:cNvPr>
          <p:cNvSpPr txBox="1"/>
          <p:nvPr/>
        </p:nvSpPr>
        <p:spPr>
          <a:xfrm>
            <a:off x="3301227" y="4797581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DM Sans 2" panose="020B0604020202020204" charset="0"/>
              </a:rPr>
              <a:t>Prio</a:t>
            </a:r>
            <a:r>
              <a:rPr lang="en-US" sz="1200" b="1" dirty="0">
                <a:solidFill>
                  <a:schemeClr val="bg1"/>
                </a:solidFill>
                <a:latin typeface="DM Sans 2" panose="020B0604020202020204" charset="0"/>
              </a:rPr>
              <a:t> A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FCEEECE7-FC63-DE2A-1DCC-976EB5404305}"/>
              </a:ext>
            </a:extLst>
          </p:cNvPr>
          <p:cNvSpPr txBox="1"/>
          <p:nvPr/>
        </p:nvSpPr>
        <p:spPr>
          <a:xfrm>
            <a:off x="3301227" y="5183697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DM Sans 2" panose="020B0604020202020204" charset="0"/>
              </a:rPr>
              <a:t>Prio</a:t>
            </a:r>
            <a:r>
              <a:rPr lang="en-US" sz="1200" b="1" dirty="0">
                <a:solidFill>
                  <a:schemeClr val="bg1"/>
                </a:solidFill>
                <a:latin typeface="DM Sans 2" panose="020B0604020202020204" charset="0"/>
              </a:rPr>
              <a:t> A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BB52FF70-09E6-25BE-F3B7-2EF1F5D86E32}"/>
              </a:ext>
            </a:extLst>
          </p:cNvPr>
          <p:cNvSpPr txBox="1"/>
          <p:nvPr/>
        </p:nvSpPr>
        <p:spPr>
          <a:xfrm>
            <a:off x="3301227" y="5566394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DM Sans 2" panose="020B0604020202020204" charset="0"/>
              </a:rPr>
              <a:t>Prio</a:t>
            </a:r>
            <a:r>
              <a:rPr lang="en-US" sz="1200" b="1" dirty="0">
                <a:solidFill>
                  <a:schemeClr val="bg1"/>
                </a:solidFill>
                <a:latin typeface="DM Sans 2" panose="020B0604020202020204" charset="0"/>
              </a:rPr>
              <a:t> A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9E2A87B2-3DFF-0A2F-F504-E7C441D9A04F}"/>
              </a:ext>
            </a:extLst>
          </p:cNvPr>
          <p:cNvSpPr txBox="1"/>
          <p:nvPr/>
        </p:nvSpPr>
        <p:spPr>
          <a:xfrm>
            <a:off x="3303108" y="5936988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DM Sans 2" panose="020B0604020202020204" charset="0"/>
              </a:rPr>
              <a:t>Prio</a:t>
            </a:r>
            <a:r>
              <a:rPr lang="en-US" sz="1200" b="1" dirty="0">
                <a:solidFill>
                  <a:schemeClr val="bg1"/>
                </a:solidFill>
                <a:latin typeface="DM Sans 2" panose="020B0604020202020204" charset="0"/>
              </a:rPr>
              <a:t> B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FCD95698-56D4-7548-8200-4F1C16DCACE1}"/>
              </a:ext>
            </a:extLst>
          </p:cNvPr>
          <p:cNvSpPr txBox="1"/>
          <p:nvPr/>
        </p:nvSpPr>
        <p:spPr>
          <a:xfrm>
            <a:off x="3301227" y="6299687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DM Sans 2" panose="020B0604020202020204" charset="0"/>
              </a:rPr>
              <a:t>Prio</a:t>
            </a:r>
            <a:r>
              <a:rPr lang="en-US" sz="1200" b="1" dirty="0">
                <a:solidFill>
                  <a:schemeClr val="bg1"/>
                </a:solidFill>
                <a:latin typeface="DM Sans 2" panose="020B0604020202020204" charset="0"/>
              </a:rPr>
              <a:t> B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07AF690C-0969-F6D7-9156-13F2FCB90F93}"/>
              </a:ext>
            </a:extLst>
          </p:cNvPr>
          <p:cNvSpPr txBox="1"/>
          <p:nvPr/>
        </p:nvSpPr>
        <p:spPr>
          <a:xfrm>
            <a:off x="3301227" y="6684672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DM Sans 2" panose="020B0604020202020204" charset="0"/>
              </a:rPr>
              <a:t>Prio</a:t>
            </a:r>
            <a:r>
              <a:rPr lang="en-US" sz="1200" b="1" dirty="0">
                <a:solidFill>
                  <a:schemeClr val="bg1"/>
                </a:solidFill>
                <a:latin typeface="DM Sans 2" panose="020B0604020202020204" charset="0"/>
              </a:rPr>
              <a:t> B</a:t>
            </a:r>
          </a:p>
        </p:txBody>
      </p:sp>
    </p:spTree>
    <p:extLst>
      <p:ext uri="{BB962C8B-B14F-4D97-AF65-F5344CB8AC3E}">
        <p14:creationId xmlns:p14="http://schemas.microsoft.com/office/powerpoint/2010/main" val="36146030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oup 37"/>
          <p:cNvGrpSpPr/>
          <p:nvPr/>
        </p:nvGrpSpPr>
        <p:grpSpPr>
          <a:xfrm>
            <a:off x="615671" y="7159853"/>
            <a:ext cx="188501" cy="188501"/>
            <a:chOff x="0" y="0"/>
            <a:chExt cx="812800" cy="812800"/>
          </a:xfrm>
        </p:grpSpPr>
        <p:sp>
          <p:nvSpPr>
            <p:cNvPr id="38" name="Freeform 38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39" name="TextBox 39"/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" name="AutoShape 3"/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" name="AutoShape 4"/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5" name="Freeform 5"/>
          <p:cNvSpPr/>
          <p:nvPr/>
        </p:nvSpPr>
        <p:spPr>
          <a:xfrm>
            <a:off x="912280" y="558004"/>
            <a:ext cx="1723804" cy="1062022"/>
          </a:xfrm>
          <a:custGeom>
            <a:avLst/>
            <a:gdLst/>
            <a:ahLst/>
            <a:cxnLst/>
            <a:rect l="l" t="t" r="r" b="b"/>
            <a:pathLst>
              <a:path w="1723804" h="1062022">
                <a:moveTo>
                  <a:pt x="0" y="0"/>
                </a:moveTo>
                <a:lnTo>
                  <a:pt x="1723804" y="0"/>
                </a:lnTo>
                <a:lnTo>
                  <a:pt x="1723804" y="1062022"/>
                </a:lnTo>
                <a:lnTo>
                  <a:pt x="0" y="1062022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6" name="Group 6"/>
          <p:cNvGrpSpPr/>
          <p:nvPr/>
        </p:nvGrpSpPr>
        <p:grpSpPr>
          <a:xfrm>
            <a:off x="743429" y="1620026"/>
            <a:ext cx="2016937" cy="339603"/>
            <a:chOff x="0" y="0"/>
            <a:chExt cx="2689249" cy="452804"/>
          </a:xfrm>
        </p:grpSpPr>
        <p:grpSp>
          <p:nvGrpSpPr>
            <p:cNvPr id="7" name="Group 7"/>
            <p:cNvGrpSpPr/>
            <p:nvPr/>
          </p:nvGrpSpPr>
          <p:grpSpPr>
            <a:xfrm>
              <a:off x="0" y="0"/>
              <a:ext cx="2689249" cy="452804"/>
              <a:chOff x="0" y="0"/>
              <a:chExt cx="747014" cy="125779"/>
            </a:xfrm>
          </p:grpSpPr>
          <p:sp>
            <p:nvSpPr>
              <p:cNvPr id="8" name="Freeform 8"/>
              <p:cNvSpPr/>
              <p:nvPr/>
            </p:nvSpPr>
            <p:spPr>
              <a:xfrm>
                <a:off x="0" y="0"/>
                <a:ext cx="747014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747014" h="125779">
                    <a:moveTo>
                      <a:pt x="0" y="0"/>
                    </a:moveTo>
                    <a:lnTo>
                      <a:pt x="747014" y="0"/>
                    </a:lnTo>
                    <a:lnTo>
                      <a:pt x="747014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" name="TextBox 9"/>
              <p:cNvSpPr txBox="1"/>
              <p:nvPr/>
            </p:nvSpPr>
            <p:spPr>
              <a:xfrm>
                <a:off x="0" y="-114300"/>
                <a:ext cx="747014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10" name="TextBox 10"/>
            <p:cNvSpPr txBox="1"/>
            <p:nvPr/>
          </p:nvSpPr>
          <p:spPr>
            <a:xfrm>
              <a:off x="65038" y="18756"/>
              <a:ext cx="2559172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 dirty="0" err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Verkehrssektor</a:t>
              </a:r>
              <a:endParaRPr lang="en-US" sz="1799" b="1" dirty="0">
                <a:solidFill>
                  <a:srgbClr val="FFC80C"/>
                </a:solidFill>
                <a:latin typeface="Open Sans Bold"/>
                <a:ea typeface="Open Sans Bold"/>
                <a:cs typeface="Open Sans Bold"/>
                <a:sym typeface="Open Sans Bold"/>
              </a:endParaRPr>
            </a:p>
          </p:txBody>
        </p:sp>
      </p:grpSp>
      <p:sp>
        <p:nvSpPr>
          <p:cNvPr id="11" name="Freeform 11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21" name="Group 21"/>
          <p:cNvGrpSpPr/>
          <p:nvPr/>
        </p:nvGrpSpPr>
        <p:grpSpPr>
          <a:xfrm>
            <a:off x="515733" y="9407587"/>
            <a:ext cx="2463783" cy="440591"/>
            <a:chOff x="0" y="0"/>
            <a:chExt cx="696893" cy="124623"/>
          </a:xfrm>
        </p:grpSpPr>
        <p:sp>
          <p:nvSpPr>
            <p:cNvPr id="22" name="Freeform 22"/>
            <p:cNvSpPr/>
            <p:nvPr/>
          </p:nvSpPr>
          <p:spPr>
            <a:xfrm>
              <a:off x="0" y="0"/>
              <a:ext cx="696893" cy="124623"/>
            </a:xfrm>
            <a:custGeom>
              <a:avLst/>
              <a:gdLst/>
              <a:ahLst/>
              <a:cxnLst/>
              <a:rect l="l" t="t" r="r" b="b"/>
              <a:pathLst>
                <a:path w="696893" h="124623">
                  <a:moveTo>
                    <a:pt x="62312" y="0"/>
                  </a:moveTo>
                  <a:lnTo>
                    <a:pt x="634582" y="0"/>
                  </a:lnTo>
                  <a:cubicBezTo>
                    <a:pt x="651108" y="0"/>
                    <a:pt x="666957" y="6565"/>
                    <a:pt x="678643" y="18251"/>
                  </a:cubicBezTo>
                  <a:cubicBezTo>
                    <a:pt x="690328" y="29936"/>
                    <a:pt x="696893" y="45786"/>
                    <a:pt x="696893" y="62312"/>
                  </a:cubicBezTo>
                  <a:lnTo>
                    <a:pt x="696893" y="62312"/>
                  </a:lnTo>
                  <a:cubicBezTo>
                    <a:pt x="696893" y="78838"/>
                    <a:pt x="690328" y="94687"/>
                    <a:pt x="678643" y="106373"/>
                  </a:cubicBezTo>
                  <a:cubicBezTo>
                    <a:pt x="666957" y="118058"/>
                    <a:pt x="651108" y="124623"/>
                    <a:pt x="634582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TextBox 23"/>
            <p:cNvSpPr txBox="1"/>
            <p:nvPr/>
          </p:nvSpPr>
          <p:spPr>
            <a:xfrm>
              <a:off x="0" y="-28575"/>
              <a:ext cx="696893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34" name="Freeform 34"/>
          <p:cNvSpPr/>
          <p:nvPr/>
        </p:nvSpPr>
        <p:spPr>
          <a:xfrm>
            <a:off x="639558" y="9511221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3"/>
                </a:lnTo>
                <a:lnTo>
                  <a:pt x="0" y="23332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5" name="Group 35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6" name="Freeform 36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41" name="TextBox 41"/>
          <p:cNvSpPr txBox="1"/>
          <p:nvPr/>
        </p:nvSpPr>
        <p:spPr>
          <a:xfrm>
            <a:off x="911172" y="9506372"/>
            <a:ext cx="1912102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>
                <a:solidFill>
                  <a:srgbClr val="000000"/>
                </a:solidFill>
                <a:latin typeface="DM Sans 1"/>
                <a:ea typeface="DM Sans 1"/>
                <a:cs typeface="DM Sans 1"/>
                <a:sym typeface="DM Sans 1"/>
              </a:rPr>
              <a:t>Einfache Umsetzbarkeit</a:t>
            </a:r>
          </a:p>
        </p:txBody>
      </p:sp>
      <p:sp>
        <p:nvSpPr>
          <p:cNvPr id="45" name="TextBox 45"/>
          <p:cNvSpPr txBox="1"/>
          <p:nvPr/>
        </p:nvSpPr>
        <p:spPr>
          <a:xfrm>
            <a:off x="517221" y="2150128"/>
            <a:ext cx="12409180" cy="266643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rundlage für eine koordinierte Verkehrswende ist eine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samtheitliche Mobilitätsplanung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in der der Ausbau von Fuß- und Radverkehr sowie der Ausbau des ÖPNV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nkl. der überregionalen Verkehrsplanung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ordiniert wird. Die Planung kümmert sich um die Ermöglichung und Verbesserung der Mobilität bei gleichzeitiger Reduktion der Emissionen. Zur Planung gehören auch 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ie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nbindung an und Verzahnung mit Nachbargemeinden und Städten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(überregionaler (Pendel-)Verkehr)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ie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inanzierung der investiven Maßnahmen über den Haushalt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(inkl. Maßnahmen zur Erhöhung der Mittel, z.B. über Parkraumbewirtschaftung s.u.)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6" name="TextBox 46"/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</a:p>
        </p:txBody>
      </p:sp>
      <p:sp>
        <p:nvSpPr>
          <p:cNvPr id="47" name="TextBox 47"/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 Akteure</a:t>
            </a:r>
          </a:p>
        </p:txBody>
      </p:sp>
      <p:sp>
        <p:nvSpPr>
          <p:cNvPr id="48" name="TextBox 48"/>
          <p:cNvSpPr txBox="1"/>
          <p:nvPr/>
        </p:nvSpPr>
        <p:spPr>
          <a:xfrm>
            <a:off x="889210" y="7027192"/>
            <a:ext cx="11554521" cy="742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Planerisch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änder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Rahmenbedingung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fü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nder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kteure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9" name="TextBox 49"/>
          <p:cNvSpPr txBox="1"/>
          <p:nvPr/>
        </p:nvSpPr>
        <p:spPr>
          <a:xfrm>
            <a:off x="13469326" y="6989092"/>
            <a:ext cx="4203003" cy="228171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olitischer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schluss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meindera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(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nkl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öchter-unternehm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)</a:t>
            </a: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lanung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waltung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führung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tadtwerk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od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nternehm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50" name="TextBox 50"/>
          <p:cNvSpPr txBox="1"/>
          <p:nvPr/>
        </p:nvSpPr>
        <p:spPr>
          <a:xfrm>
            <a:off x="16996994" y="9541473"/>
            <a:ext cx="807393" cy="33972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 2</a:t>
            </a:r>
          </a:p>
        </p:txBody>
      </p:sp>
      <p:sp>
        <p:nvSpPr>
          <p:cNvPr id="51" name="TextBox 51"/>
          <p:cNvSpPr txBox="1"/>
          <p:nvPr/>
        </p:nvSpPr>
        <p:spPr>
          <a:xfrm>
            <a:off x="13636773" y="5715305"/>
            <a:ext cx="4035556" cy="4515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rams in Dresden</a:t>
            </a:r>
          </a:p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kimedia Commons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56" name="Group 49">
            <a:extLst>
              <a:ext uri="{FF2B5EF4-FFF2-40B4-BE49-F238E27FC236}">
                <a16:creationId xmlns:a16="http://schemas.microsoft.com/office/drawing/2014/main" id="{966CC0BD-FF60-6CE3-2FFF-C6A9EF00D354}"/>
              </a:ext>
            </a:extLst>
          </p:cNvPr>
          <p:cNvGrpSpPr/>
          <p:nvPr/>
        </p:nvGrpSpPr>
        <p:grpSpPr>
          <a:xfrm>
            <a:off x="2760366" y="320493"/>
            <a:ext cx="11894274" cy="1423467"/>
            <a:chOff x="0" y="-38100"/>
            <a:chExt cx="15859032" cy="1897955"/>
          </a:xfrm>
        </p:grpSpPr>
        <p:sp>
          <p:nvSpPr>
            <p:cNvPr id="57" name="TextBox 50">
              <a:extLst>
                <a:ext uri="{FF2B5EF4-FFF2-40B4-BE49-F238E27FC236}">
                  <a16:creationId xmlns:a16="http://schemas.microsoft.com/office/drawing/2014/main" id="{0784FCAF-EAF1-0C4C-21B3-2691C039D16A}"/>
                </a:ext>
              </a:extLst>
            </p:cNvPr>
            <p:cNvSpPr txBox="1"/>
            <p:nvPr/>
          </p:nvSpPr>
          <p:spPr>
            <a:xfrm>
              <a:off x="0" y="456565"/>
              <a:ext cx="15859032" cy="140329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Mobilitätsplanung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mit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Fokus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auf Ausbau Rad- und </a:t>
              </a:r>
            </a:p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Fußinfrastruktur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und ÖPNV-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Entwicklung</a:t>
              </a:r>
              <a:endPara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  <p:sp>
          <p:nvSpPr>
            <p:cNvPr id="58" name="TextBox 51">
              <a:extLst>
                <a:ext uri="{FF2B5EF4-FFF2-40B4-BE49-F238E27FC236}">
                  <a16:creationId xmlns:a16="http://schemas.microsoft.com/office/drawing/2014/main" id="{D483B87D-E7B8-7DE1-0881-42B7997F9F41}"/>
                </a:ext>
              </a:extLst>
            </p:cNvPr>
            <p:cNvSpPr txBox="1"/>
            <p:nvPr/>
          </p:nvSpPr>
          <p:spPr>
            <a:xfrm>
              <a:off x="0" y="-38100"/>
              <a:ext cx="1882048" cy="40857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1</a:t>
              </a:r>
            </a:p>
          </p:txBody>
        </p:sp>
      </p:grpSp>
      <p:grpSp>
        <p:nvGrpSpPr>
          <p:cNvPr id="59" name="Group 55">
            <a:extLst>
              <a:ext uri="{FF2B5EF4-FFF2-40B4-BE49-F238E27FC236}">
                <a16:creationId xmlns:a16="http://schemas.microsoft.com/office/drawing/2014/main" id="{179B1420-3D51-5ED2-1D7C-8D68C7A10518}"/>
              </a:ext>
            </a:extLst>
          </p:cNvPr>
          <p:cNvGrpSpPr/>
          <p:nvPr/>
        </p:nvGrpSpPr>
        <p:grpSpPr>
          <a:xfrm>
            <a:off x="-15767" y="2291998"/>
            <a:ext cx="183377" cy="7556180"/>
            <a:chOff x="-34161" y="24949"/>
            <a:chExt cx="244503" cy="10074908"/>
          </a:xfrm>
        </p:grpSpPr>
        <p:sp>
          <p:nvSpPr>
            <p:cNvPr id="60" name="TextBox 56">
              <a:extLst>
                <a:ext uri="{FF2B5EF4-FFF2-40B4-BE49-F238E27FC236}">
                  <a16:creationId xmlns:a16="http://schemas.microsoft.com/office/drawing/2014/main" id="{DDD7D248-F4F4-06A4-3A19-A9534EFD6F55}"/>
                </a:ext>
              </a:extLst>
            </p:cNvPr>
            <p:cNvSpPr txBox="1"/>
            <p:nvPr/>
          </p:nvSpPr>
          <p:spPr>
            <a:xfrm rot="16200000">
              <a:off x="-4465808" y="4477619"/>
              <a:ext cx="9128820" cy="22348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399"/>
                </a:lnSpc>
              </a:pP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UBA 2022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schutzpotenziale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i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ommun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endParaRPr lang="en-US" sz="900" dirty="0">
                <a:solidFill>
                  <a:srgbClr val="011633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9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61" name="TextBox 57">
              <a:extLst>
                <a:ext uri="{FF2B5EF4-FFF2-40B4-BE49-F238E27FC236}">
                  <a16:creationId xmlns:a16="http://schemas.microsoft.com/office/drawing/2014/main" id="{77412A18-4E82-5092-2B14-B3FBC15D5FFD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pic>
        <p:nvPicPr>
          <p:cNvPr id="12" name="Grafik 11" descr="Sterne mit einfarbiger Füllung">
            <a:extLst>
              <a:ext uri="{FF2B5EF4-FFF2-40B4-BE49-F238E27FC236}">
                <a16:creationId xmlns:a16="http://schemas.microsoft.com/office/drawing/2014/main" id="{A17F48CC-A89F-DAE7-E21F-1BE6CD035C1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052709" y="9409163"/>
            <a:ext cx="457200" cy="457200"/>
          </a:xfrm>
          <a:prstGeom prst="rect">
            <a:avLst/>
          </a:prstGeom>
        </p:spPr>
      </p:pic>
      <p:sp>
        <p:nvSpPr>
          <p:cNvPr id="13" name="TextBox 34">
            <a:extLst>
              <a:ext uri="{FF2B5EF4-FFF2-40B4-BE49-F238E27FC236}">
                <a16:creationId xmlns:a16="http://schemas.microsoft.com/office/drawing/2014/main" id="{A685A388-6035-0B66-0772-8223B7A595B2}"/>
              </a:ext>
            </a:extLst>
          </p:cNvPr>
          <p:cNvSpPr txBox="1"/>
          <p:nvPr/>
        </p:nvSpPr>
        <p:spPr>
          <a:xfrm>
            <a:off x="3540604" y="9519051"/>
            <a:ext cx="3385647" cy="2208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obilitäts- und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erkehrskonzept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Marburg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</p:spTree>
    <p:extLst>
      <p:ext uri="{BB962C8B-B14F-4D97-AF65-F5344CB8AC3E}">
        <p14:creationId xmlns:p14="http://schemas.microsoft.com/office/powerpoint/2010/main" val="27250954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" name="AutoShape 3"/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" name="AutoShape 4"/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5" name="Freeform 5"/>
          <p:cNvSpPr/>
          <p:nvPr/>
        </p:nvSpPr>
        <p:spPr>
          <a:xfrm>
            <a:off x="912280" y="558004"/>
            <a:ext cx="1723804" cy="1062022"/>
          </a:xfrm>
          <a:custGeom>
            <a:avLst/>
            <a:gdLst/>
            <a:ahLst/>
            <a:cxnLst/>
            <a:rect l="l" t="t" r="r" b="b"/>
            <a:pathLst>
              <a:path w="1723804" h="1062022">
                <a:moveTo>
                  <a:pt x="0" y="0"/>
                </a:moveTo>
                <a:lnTo>
                  <a:pt x="1723804" y="0"/>
                </a:lnTo>
                <a:lnTo>
                  <a:pt x="1723804" y="1062022"/>
                </a:lnTo>
                <a:lnTo>
                  <a:pt x="0" y="1062022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6" name="Group 6"/>
          <p:cNvGrpSpPr/>
          <p:nvPr/>
        </p:nvGrpSpPr>
        <p:grpSpPr>
          <a:xfrm>
            <a:off x="743429" y="1620026"/>
            <a:ext cx="2016937" cy="339603"/>
            <a:chOff x="0" y="0"/>
            <a:chExt cx="2689249" cy="452804"/>
          </a:xfrm>
        </p:grpSpPr>
        <p:grpSp>
          <p:nvGrpSpPr>
            <p:cNvPr id="7" name="Group 7"/>
            <p:cNvGrpSpPr/>
            <p:nvPr/>
          </p:nvGrpSpPr>
          <p:grpSpPr>
            <a:xfrm>
              <a:off x="0" y="0"/>
              <a:ext cx="2689249" cy="452804"/>
              <a:chOff x="0" y="0"/>
              <a:chExt cx="747014" cy="125779"/>
            </a:xfrm>
          </p:grpSpPr>
          <p:sp>
            <p:nvSpPr>
              <p:cNvPr id="8" name="Freeform 8"/>
              <p:cNvSpPr/>
              <p:nvPr/>
            </p:nvSpPr>
            <p:spPr>
              <a:xfrm>
                <a:off x="0" y="0"/>
                <a:ext cx="747014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747014" h="125779">
                    <a:moveTo>
                      <a:pt x="0" y="0"/>
                    </a:moveTo>
                    <a:lnTo>
                      <a:pt x="747014" y="0"/>
                    </a:lnTo>
                    <a:lnTo>
                      <a:pt x="747014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" name="TextBox 9"/>
              <p:cNvSpPr txBox="1"/>
              <p:nvPr/>
            </p:nvSpPr>
            <p:spPr>
              <a:xfrm>
                <a:off x="0" y="-114300"/>
                <a:ext cx="747014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10" name="TextBox 10"/>
            <p:cNvSpPr txBox="1"/>
            <p:nvPr/>
          </p:nvSpPr>
          <p:spPr>
            <a:xfrm>
              <a:off x="65038" y="18756"/>
              <a:ext cx="2559172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 dirty="0" err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Verkehrssektor</a:t>
              </a:r>
              <a:endParaRPr lang="en-US" sz="1799" b="1" dirty="0">
                <a:solidFill>
                  <a:srgbClr val="FFC80C"/>
                </a:solidFill>
                <a:latin typeface="Open Sans Bold"/>
                <a:ea typeface="Open Sans Bold"/>
                <a:cs typeface="Open Sans Bold"/>
                <a:sym typeface="Open Sans Bold"/>
              </a:endParaRPr>
            </a:p>
          </p:txBody>
        </p:sp>
      </p:grpSp>
      <p:sp>
        <p:nvSpPr>
          <p:cNvPr id="11" name="Freeform 11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21" name="Group 21"/>
          <p:cNvGrpSpPr/>
          <p:nvPr/>
        </p:nvGrpSpPr>
        <p:grpSpPr>
          <a:xfrm>
            <a:off x="515733" y="9407587"/>
            <a:ext cx="2463783" cy="440591"/>
            <a:chOff x="0" y="0"/>
            <a:chExt cx="696893" cy="124623"/>
          </a:xfrm>
        </p:grpSpPr>
        <p:sp>
          <p:nvSpPr>
            <p:cNvPr id="22" name="Freeform 22"/>
            <p:cNvSpPr/>
            <p:nvPr/>
          </p:nvSpPr>
          <p:spPr>
            <a:xfrm>
              <a:off x="0" y="0"/>
              <a:ext cx="696893" cy="124623"/>
            </a:xfrm>
            <a:custGeom>
              <a:avLst/>
              <a:gdLst/>
              <a:ahLst/>
              <a:cxnLst/>
              <a:rect l="l" t="t" r="r" b="b"/>
              <a:pathLst>
                <a:path w="696893" h="124623">
                  <a:moveTo>
                    <a:pt x="62312" y="0"/>
                  </a:moveTo>
                  <a:lnTo>
                    <a:pt x="634582" y="0"/>
                  </a:lnTo>
                  <a:cubicBezTo>
                    <a:pt x="651108" y="0"/>
                    <a:pt x="666957" y="6565"/>
                    <a:pt x="678643" y="18251"/>
                  </a:cubicBezTo>
                  <a:cubicBezTo>
                    <a:pt x="690328" y="29936"/>
                    <a:pt x="696893" y="45786"/>
                    <a:pt x="696893" y="62312"/>
                  </a:cubicBezTo>
                  <a:lnTo>
                    <a:pt x="696893" y="62312"/>
                  </a:lnTo>
                  <a:cubicBezTo>
                    <a:pt x="696893" y="78838"/>
                    <a:pt x="690328" y="94687"/>
                    <a:pt x="678643" y="106373"/>
                  </a:cubicBezTo>
                  <a:cubicBezTo>
                    <a:pt x="666957" y="118058"/>
                    <a:pt x="651108" y="124623"/>
                    <a:pt x="634582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TextBox 23"/>
            <p:cNvSpPr txBox="1"/>
            <p:nvPr/>
          </p:nvSpPr>
          <p:spPr>
            <a:xfrm>
              <a:off x="0" y="-28575"/>
              <a:ext cx="696893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34" name="Freeform 34"/>
          <p:cNvSpPr/>
          <p:nvPr/>
        </p:nvSpPr>
        <p:spPr>
          <a:xfrm>
            <a:off x="639558" y="9511221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3"/>
                </a:lnTo>
                <a:lnTo>
                  <a:pt x="0" y="23332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5" name="Group 35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6" name="Freeform 36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41" name="TextBox 41"/>
          <p:cNvSpPr txBox="1"/>
          <p:nvPr/>
        </p:nvSpPr>
        <p:spPr>
          <a:xfrm>
            <a:off x="911172" y="9506372"/>
            <a:ext cx="1912102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>
                <a:solidFill>
                  <a:srgbClr val="000000"/>
                </a:solidFill>
                <a:latin typeface="DM Sans 1"/>
                <a:ea typeface="DM Sans 1"/>
                <a:cs typeface="DM Sans 1"/>
                <a:sym typeface="DM Sans 1"/>
              </a:rPr>
              <a:t>Einfache Umsetzbarkeit</a:t>
            </a:r>
          </a:p>
        </p:txBody>
      </p:sp>
      <p:sp>
        <p:nvSpPr>
          <p:cNvPr id="45" name="TextBox 45"/>
          <p:cNvSpPr txBox="1"/>
          <p:nvPr/>
        </p:nvSpPr>
        <p:spPr>
          <a:xfrm>
            <a:off x="517221" y="2150128"/>
            <a:ext cx="12097407" cy="189699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ie Reduktion der innerstädtischen Höchstgeschwindigkeit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ann teilweise von der Kommune auf Tempo 20 bzw. 30 reduziert werden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Bei reduziertem Tempo entstehen deutlich weniger Emissionen.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Wo möglich: Tempo 20 bzw. 30 Zonen weiträumig ausweisen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itritt zur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undesweiten Initiative „Lebenswerte Städte durch angemessene Geschwindigkeiten“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ür eine flächendeckende Ermöglichung der Tempo-Zonen</a:t>
            </a:r>
          </a:p>
        </p:txBody>
      </p:sp>
      <p:sp>
        <p:nvSpPr>
          <p:cNvPr id="46" name="TextBox 46"/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</a:p>
        </p:txBody>
      </p:sp>
      <p:sp>
        <p:nvSpPr>
          <p:cNvPr id="47" name="TextBox 47"/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 Akteure</a:t>
            </a:r>
          </a:p>
        </p:txBody>
      </p:sp>
      <p:sp>
        <p:nvSpPr>
          <p:cNvPr id="49" name="TextBox 49"/>
          <p:cNvSpPr txBox="1"/>
          <p:nvPr/>
        </p:nvSpPr>
        <p:spPr>
          <a:xfrm>
            <a:off x="13469326" y="6989092"/>
            <a:ext cx="4203003" cy="226568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olitischer Beschluss:</a:t>
            </a:r>
            <a:r>
              <a:rPr lang="en-US" sz="1899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tadt-/Gemeinderat </a:t>
            </a: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führung:</a:t>
            </a:r>
            <a:r>
              <a:rPr lang="en-US" sz="1899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Kommunale Verwaltung</a:t>
            </a: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etzung:</a:t>
            </a:r>
            <a:r>
              <a:rPr lang="en-US" sz="1899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tadtwerke, Genossenschaften, Investor:innen </a:t>
            </a:r>
          </a:p>
        </p:txBody>
      </p:sp>
      <p:sp>
        <p:nvSpPr>
          <p:cNvPr id="50" name="TextBox 50"/>
          <p:cNvSpPr txBox="1"/>
          <p:nvPr/>
        </p:nvSpPr>
        <p:spPr>
          <a:xfrm>
            <a:off x="16840200" y="9541473"/>
            <a:ext cx="964187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3</a:t>
            </a:r>
          </a:p>
        </p:txBody>
      </p:sp>
      <p:sp>
        <p:nvSpPr>
          <p:cNvPr id="51" name="TextBox 51"/>
          <p:cNvSpPr txBox="1"/>
          <p:nvPr/>
        </p:nvSpPr>
        <p:spPr>
          <a:xfrm>
            <a:off x="13636773" y="5715305"/>
            <a:ext cx="4035556" cy="4515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ast </a:t>
            </a: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überall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wo es </a:t>
            </a: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ht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 Tempo 30 in Marburg</a:t>
            </a:r>
          </a:p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kimedia Commons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52" name="Group 52"/>
          <p:cNvGrpSpPr/>
          <p:nvPr/>
        </p:nvGrpSpPr>
        <p:grpSpPr>
          <a:xfrm>
            <a:off x="2760366" y="825897"/>
            <a:ext cx="11894274" cy="884858"/>
            <a:chOff x="0" y="-38100"/>
            <a:chExt cx="15859032" cy="1179810"/>
          </a:xfrm>
        </p:grpSpPr>
        <p:sp>
          <p:nvSpPr>
            <p:cNvPr id="53" name="TextBox 53"/>
            <p:cNvSpPr txBox="1"/>
            <p:nvPr/>
          </p:nvSpPr>
          <p:spPr>
            <a:xfrm>
              <a:off x="0" y="456565"/>
              <a:ext cx="15859032" cy="68514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Einführung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von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Geschwindigkeitsbegrenzungen</a:t>
              </a:r>
              <a:endPara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  <p:sp>
          <p:nvSpPr>
            <p:cNvPr id="54" name="TextBox 54"/>
            <p:cNvSpPr txBox="1"/>
            <p:nvPr/>
          </p:nvSpPr>
          <p:spPr>
            <a:xfrm>
              <a:off x="0" y="-38100"/>
              <a:ext cx="1285677" cy="40857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2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09DF7203-9F85-0095-AC2F-0CFEB559A6CD}"/>
              </a:ext>
            </a:extLst>
          </p:cNvPr>
          <p:cNvGrpSpPr/>
          <p:nvPr/>
        </p:nvGrpSpPr>
        <p:grpSpPr>
          <a:xfrm>
            <a:off x="-15767" y="2291998"/>
            <a:ext cx="183377" cy="7556180"/>
            <a:chOff x="-34161" y="24949"/>
            <a:chExt cx="244503" cy="10074908"/>
          </a:xfrm>
        </p:grpSpPr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CF03F01A-AB2A-1E72-B329-72AF8CB0A0AC}"/>
                </a:ext>
              </a:extLst>
            </p:cNvPr>
            <p:cNvSpPr txBox="1"/>
            <p:nvPr/>
          </p:nvSpPr>
          <p:spPr>
            <a:xfrm rot="16200000">
              <a:off x="-4465808" y="4477619"/>
              <a:ext cx="9128820" cy="22348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399"/>
                </a:lnSpc>
              </a:pP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ebenswerte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tädte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und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Gemeiden</a:t>
              </a:r>
              <a:endParaRPr lang="en-US" sz="900" dirty="0">
                <a:solidFill>
                  <a:srgbClr val="011633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9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690784A2-A3E4-D9F5-B363-9F5910ABE8BC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sp>
        <p:nvSpPr>
          <p:cNvPr id="59" name="TextBox 48">
            <a:extLst>
              <a:ext uri="{FF2B5EF4-FFF2-40B4-BE49-F238E27FC236}">
                <a16:creationId xmlns:a16="http://schemas.microsoft.com/office/drawing/2014/main" id="{86E9E4E1-036B-3600-146A-8C14445ADAD2}"/>
              </a:ext>
            </a:extLst>
          </p:cNvPr>
          <p:cNvSpPr txBox="1"/>
          <p:nvPr/>
        </p:nvSpPr>
        <p:spPr>
          <a:xfrm>
            <a:off x="889210" y="7027192"/>
            <a:ext cx="11554521" cy="742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Planerisch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änder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Rahmenbedingung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fü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nder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kteure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60" name="Group 37">
            <a:extLst>
              <a:ext uri="{FF2B5EF4-FFF2-40B4-BE49-F238E27FC236}">
                <a16:creationId xmlns:a16="http://schemas.microsoft.com/office/drawing/2014/main" id="{3CA82386-E890-88FD-92AC-365E80AE13FB}"/>
              </a:ext>
            </a:extLst>
          </p:cNvPr>
          <p:cNvGrpSpPr/>
          <p:nvPr/>
        </p:nvGrpSpPr>
        <p:grpSpPr>
          <a:xfrm>
            <a:off x="615671" y="7159853"/>
            <a:ext cx="188501" cy="188501"/>
            <a:chOff x="0" y="0"/>
            <a:chExt cx="812800" cy="812800"/>
          </a:xfrm>
        </p:grpSpPr>
        <p:sp>
          <p:nvSpPr>
            <p:cNvPr id="61" name="Freeform 38">
              <a:extLst>
                <a:ext uri="{FF2B5EF4-FFF2-40B4-BE49-F238E27FC236}">
                  <a16:creationId xmlns:a16="http://schemas.microsoft.com/office/drawing/2014/main" id="{24DD7FA9-2719-4CE7-D247-F7E68EB05CDF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62" name="TextBox 39">
              <a:extLst>
                <a:ext uri="{FF2B5EF4-FFF2-40B4-BE49-F238E27FC236}">
                  <a16:creationId xmlns:a16="http://schemas.microsoft.com/office/drawing/2014/main" id="{223FD007-F894-9B05-C742-BC405900CAB0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pic>
        <p:nvPicPr>
          <p:cNvPr id="12" name="Grafik 11" descr="Sterne mit einfarbiger Füllung">
            <a:extLst>
              <a:ext uri="{FF2B5EF4-FFF2-40B4-BE49-F238E27FC236}">
                <a16:creationId xmlns:a16="http://schemas.microsoft.com/office/drawing/2014/main" id="{59FDA70B-598A-982A-6025-0F2CCDE551F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052709" y="9409163"/>
            <a:ext cx="457200" cy="457200"/>
          </a:xfrm>
          <a:prstGeom prst="rect">
            <a:avLst/>
          </a:prstGeom>
        </p:spPr>
      </p:pic>
      <p:sp>
        <p:nvSpPr>
          <p:cNvPr id="13" name="TextBox 34">
            <a:extLst>
              <a:ext uri="{FF2B5EF4-FFF2-40B4-BE49-F238E27FC236}">
                <a16:creationId xmlns:a16="http://schemas.microsoft.com/office/drawing/2014/main" id="{F7EB88E5-8DD8-739E-5934-43F2E0207563}"/>
              </a:ext>
            </a:extLst>
          </p:cNvPr>
          <p:cNvSpPr txBox="1"/>
          <p:nvPr/>
        </p:nvSpPr>
        <p:spPr>
          <a:xfrm>
            <a:off x="3540604" y="9519051"/>
            <a:ext cx="3385647" cy="2208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obilitäts- und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erkehrskonzept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Marburg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</p:spTree>
    <p:extLst>
      <p:ext uri="{BB962C8B-B14F-4D97-AF65-F5344CB8AC3E}">
        <p14:creationId xmlns:p14="http://schemas.microsoft.com/office/powerpoint/2010/main" val="37388086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" name="AutoShape 3"/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" name="AutoShape 4"/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5" name="Freeform 5"/>
          <p:cNvSpPr/>
          <p:nvPr/>
        </p:nvSpPr>
        <p:spPr>
          <a:xfrm>
            <a:off x="912280" y="558004"/>
            <a:ext cx="1723804" cy="1062022"/>
          </a:xfrm>
          <a:custGeom>
            <a:avLst/>
            <a:gdLst/>
            <a:ahLst/>
            <a:cxnLst/>
            <a:rect l="l" t="t" r="r" b="b"/>
            <a:pathLst>
              <a:path w="1723804" h="1062022">
                <a:moveTo>
                  <a:pt x="0" y="0"/>
                </a:moveTo>
                <a:lnTo>
                  <a:pt x="1723804" y="0"/>
                </a:lnTo>
                <a:lnTo>
                  <a:pt x="1723804" y="1062022"/>
                </a:lnTo>
                <a:lnTo>
                  <a:pt x="0" y="1062022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6" name="Group 6"/>
          <p:cNvGrpSpPr/>
          <p:nvPr/>
        </p:nvGrpSpPr>
        <p:grpSpPr>
          <a:xfrm>
            <a:off x="743429" y="1620026"/>
            <a:ext cx="2016937" cy="339603"/>
            <a:chOff x="0" y="0"/>
            <a:chExt cx="2689249" cy="452804"/>
          </a:xfrm>
        </p:grpSpPr>
        <p:grpSp>
          <p:nvGrpSpPr>
            <p:cNvPr id="7" name="Group 7"/>
            <p:cNvGrpSpPr/>
            <p:nvPr/>
          </p:nvGrpSpPr>
          <p:grpSpPr>
            <a:xfrm>
              <a:off x="0" y="0"/>
              <a:ext cx="2689249" cy="452804"/>
              <a:chOff x="0" y="0"/>
              <a:chExt cx="747014" cy="125779"/>
            </a:xfrm>
          </p:grpSpPr>
          <p:sp>
            <p:nvSpPr>
              <p:cNvPr id="8" name="Freeform 8"/>
              <p:cNvSpPr/>
              <p:nvPr/>
            </p:nvSpPr>
            <p:spPr>
              <a:xfrm>
                <a:off x="0" y="0"/>
                <a:ext cx="747014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747014" h="125779">
                    <a:moveTo>
                      <a:pt x="0" y="0"/>
                    </a:moveTo>
                    <a:lnTo>
                      <a:pt x="747014" y="0"/>
                    </a:lnTo>
                    <a:lnTo>
                      <a:pt x="747014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" name="TextBox 9"/>
              <p:cNvSpPr txBox="1"/>
              <p:nvPr/>
            </p:nvSpPr>
            <p:spPr>
              <a:xfrm>
                <a:off x="0" y="-114300"/>
                <a:ext cx="747014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10" name="TextBox 10"/>
            <p:cNvSpPr txBox="1"/>
            <p:nvPr/>
          </p:nvSpPr>
          <p:spPr>
            <a:xfrm>
              <a:off x="65038" y="18756"/>
              <a:ext cx="2559172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 dirty="0" err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Verkehrssektor</a:t>
              </a:r>
              <a:endParaRPr lang="en-US" sz="1799" b="1" dirty="0">
                <a:solidFill>
                  <a:srgbClr val="FFC80C"/>
                </a:solidFill>
                <a:latin typeface="Open Sans Bold"/>
                <a:ea typeface="Open Sans Bold"/>
                <a:cs typeface="Open Sans Bold"/>
                <a:sym typeface="Open Sans Bold"/>
              </a:endParaRPr>
            </a:p>
          </p:txBody>
        </p:sp>
      </p:grpSp>
      <p:sp>
        <p:nvSpPr>
          <p:cNvPr id="11" name="Freeform 11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18" name="Group 18"/>
          <p:cNvGrpSpPr/>
          <p:nvPr/>
        </p:nvGrpSpPr>
        <p:grpSpPr>
          <a:xfrm>
            <a:off x="2876996" y="9407587"/>
            <a:ext cx="2341249" cy="440591"/>
            <a:chOff x="0" y="0"/>
            <a:chExt cx="662234" cy="124623"/>
          </a:xfrm>
        </p:grpSpPr>
        <p:sp>
          <p:nvSpPr>
            <p:cNvPr id="19" name="Freeform 19"/>
            <p:cNvSpPr/>
            <p:nvPr/>
          </p:nvSpPr>
          <p:spPr>
            <a:xfrm>
              <a:off x="0" y="0"/>
              <a:ext cx="662234" cy="124623"/>
            </a:xfrm>
            <a:custGeom>
              <a:avLst/>
              <a:gdLst/>
              <a:ahLst/>
              <a:cxnLst/>
              <a:rect l="l" t="t" r="r" b="b"/>
              <a:pathLst>
                <a:path w="662234" h="124623">
                  <a:moveTo>
                    <a:pt x="62312" y="0"/>
                  </a:moveTo>
                  <a:lnTo>
                    <a:pt x="599922" y="0"/>
                  </a:lnTo>
                  <a:cubicBezTo>
                    <a:pt x="616448" y="0"/>
                    <a:pt x="632297" y="6565"/>
                    <a:pt x="643983" y="18251"/>
                  </a:cubicBezTo>
                  <a:cubicBezTo>
                    <a:pt x="655669" y="29936"/>
                    <a:pt x="662234" y="45786"/>
                    <a:pt x="662234" y="62312"/>
                  </a:cubicBezTo>
                  <a:lnTo>
                    <a:pt x="662234" y="62312"/>
                  </a:lnTo>
                  <a:cubicBezTo>
                    <a:pt x="662234" y="78838"/>
                    <a:pt x="655669" y="94687"/>
                    <a:pt x="643983" y="106373"/>
                  </a:cubicBezTo>
                  <a:cubicBezTo>
                    <a:pt x="632297" y="118058"/>
                    <a:pt x="616448" y="124623"/>
                    <a:pt x="599922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20" name="TextBox 20"/>
            <p:cNvSpPr txBox="1"/>
            <p:nvPr/>
          </p:nvSpPr>
          <p:spPr>
            <a:xfrm>
              <a:off x="0" y="-28575"/>
              <a:ext cx="662234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33" name="Freeform 33"/>
          <p:cNvSpPr/>
          <p:nvPr/>
        </p:nvSpPr>
        <p:spPr>
          <a:xfrm>
            <a:off x="2996849" y="9503441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3" y="0"/>
                </a:lnTo>
                <a:lnTo>
                  <a:pt x="233323" y="233322"/>
                </a:lnTo>
                <a:lnTo>
                  <a:pt x="0" y="233322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5" name="Group 35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6" name="Freeform 36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40" name="TextBox 40"/>
          <p:cNvSpPr txBox="1"/>
          <p:nvPr/>
        </p:nvSpPr>
        <p:spPr>
          <a:xfrm>
            <a:off x="3277797" y="9500566"/>
            <a:ext cx="1765348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>
                <a:solidFill>
                  <a:srgbClr val="000000"/>
                </a:solidFill>
                <a:latin typeface="DM Sans 1"/>
                <a:ea typeface="DM Sans 1"/>
                <a:cs typeface="DM Sans 1"/>
                <a:sym typeface="DM Sans 1"/>
              </a:rPr>
              <a:t>THG-Einsparpotenzial</a:t>
            </a:r>
          </a:p>
        </p:txBody>
      </p:sp>
      <p:sp>
        <p:nvSpPr>
          <p:cNvPr id="45" name="TextBox 45"/>
          <p:cNvSpPr txBox="1"/>
          <p:nvPr/>
        </p:nvSpPr>
        <p:spPr>
          <a:xfrm>
            <a:off x="517221" y="2150128"/>
            <a:ext cx="12097407" cy="34358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bau Radverkehr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ls Teil der Mobilitätsplanung. Zu einem konsequenten Radausbau gehören z.B. diese Maßnahmen: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icherheit bestehender Radwege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rhöhen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bau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eines sicheren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usammenhängenden Radnetzes und von Radschnellwegen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(ggf. auch Kommune übergreifend)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besserte und vermehrte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bstellanlagen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fwertung des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Winterdienstes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für Radwege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Öffnung von Einbahnstraßen für Radverkehr und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richtung von Fahrradstraßen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(Bevorzugung vor Autoverkehr)</a:t>
            </a:r>
          </a:p>
        </p:txBody>
      </p:sp>
      <p:sp>
        <p:nvSpPr>
          <p:cNvPr id="46" name="TextBox 46"/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</a:p>
        </p:txBody>
      </p:sp>
      <p:sp>
        <p:nvSpPr>
          <p:cNvPr id="47" name="TextBox 47"/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 Akteure</a:t>
            </a:r>
          </a:p>
        </p:txBody>
      </p:sp>
      <p:sp>
        <p:nvSpPr>
          <p:cNvPr id="49" name="TextBox 49"/>
          <p:cNvSpPr txBox="1"/>
          <p:nvPr/>
        </p:nvSpPr>
        <p:spPr>
          <a:xfrm>
            <a:off x="13469326" y="6989092"/>
            <a:ext cx="4203003" cy="226568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olitischer Beschluss:</a:t>
            </a:r>
            <a:r>
              <a:rPr lang="en-US" sz="1899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tadt-/Gemeinderat </a:t>
            </a: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führung:</a:t>
            </a:r>
            <a:r>
              <a:rPr lang="en-US" sz="1899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Kommunale Verwaltung</a:t>
            </a: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etzung:</a:t>
            </a:r>
            <a:r>
              <a:rPr lang="en-US" sz="1899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tadtwerke, Genossenschaften, Investor:innen </a:t>
            </a:r>
          </a:p>
        </p:txBody>
      </p:sp>
      <p:sp>
        <p:nvSpPr>
          <p:cNvPr id="50" name="TextBox 50"/>
          <p:cNvSpPr txBox="1"/>
          <p:nvPr/>
        </p:nvSpPr>
        <p:spPr>
          <a:xfrm>
            <a:off x="16840200" y="9541473"/>
            <a:ext cx="964187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4</a:t>
            </a:r>
          </a:p>
        </p:txBody>
      </p:sp>
      <p:sp>
        <p:nvSpPr>
          <p:cNvPr id="51" name="TextBox 51"/>
          <p:cNvSpPr txBox="1"/>
          <p:nvPr/>
        </p:nvSpPr>
        <p:spPr>
          <a:xfrm>
            <a:off x="13636773" y="5715305"/>
            <a:ext cx="4035556" cy="4515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Radweg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am </a:t>
            </a: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odanbrück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kimedia Commons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52" name="Group 52"/>
          <p:cNvGrpSpPr/>
          <p:nvPr/>
        </p:nvGrpSpPr>
        <p:grpSpPr>
          <a:xfrm>
            <a:off x="2760366" y="825897"/>
            <a:ext cx="11894274" cy="884858"/>
            <a:chOff x="0" y="-38100"/>
            <a:chExt cx="15859032" cy="1179810"/>
          </a:xfrm>
        </p:grpSpPr>
        <p:sp>
          <p:nvSpPr>
            <p:cNvPr id="53" name="TextBox 53"/>
            <p:cNvSpPr txBox="1"/>
            <p:nvPr/>
          </p:nvSpPr>
          <p:spPr>
            <a:xfrm>
              <a:off x="0" y="456565"/>
              <a:ext cx="15859032" cy="68514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Ausbau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Radverkehr</a:t>
              </a:r>
              <a:endPara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  <p:sp>
          <p:nvSpPr>
            <p:cNvPr id="54" name="TextBox 54"/>
            <p:cNvSpPr txBox="1"/>
            <p:nvPr/>
          </p:nvSpPr>
          <p:spPr>
            <a:xfrm>
              <a:off x="0" y="-38100"/>
              <a:ext cx="1501112" cy="408574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3</a:t>
              </a:r>
            </a:p>
          </p:txBody>
        </p:sp>
      </p:grpSp>
      <p:sp>
        <p:nvSpPr>
          <p:cNvPr id="12" name="TextBox 48">
            <a:extLst>
              <a:ext uri="{FF2B5EF4-FFF2-40B4-BE49-F238E27FC236}">
                <a16:creationId xmlns:a16="http://schemas.microsoft.com/office/drawing/2014/main" id="{C30EFABA-1768-F7FC-7171-3BF09714D40F}"/>
              </a:ext>
            </a:extLst>
          </p:cNvPr>
          <p:cNvSpPr txBox="1"/>
          <p:nvPr/>
        </p:nvSpPr>
        <p:spPr>
          <a:xfrm>
            <a:off x="889210" y="7027192"/>
            <a:ext cx="11554521" cy="112755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Enabling-</a:t>
            </a: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rmöglich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Nutz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THG-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rei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kehrsträg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;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etz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zw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atsächlich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tie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ritte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C45BDA3-09B3-8EE2-C987-5EAB387D9150}"/>
              </a:ext>
            </a:extLst>
          </p:cNvPr>
          <p:cNvGrpSpPr/>
          <p:nvPr/>
        </p:nvGrpSpPr>
        <p:grpSpPr>
          <a:xfrm>
            <a:off x="615671" y="7151017"/>
            <a:ext cx="188501" cy="188501"/>
            <a:chOff x="0" y="0"/>
            <a:chExt cx="812800" cy="812800"/>
          </a:xfrm>
        </p:grpSpPr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56818D3E-F40A-331D-E60A-D87BF1EA5665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FC80C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37" name="TextBox 14">
              <a:extLst>
                <a:ext uri="{FF2B5EF4-FFF2-40B4-BE49-F238E27FC236}">
                  <a16:creationId xmlns:a16="http://schemas.microsoft.com/office/drawing/2014/main" id="{4A79EEA9-229D-2940-D7F4-E61ACA2B22A3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38" name="Group 55">
            <a:extLst>
              <a:ext uri="{FF2B5EF4-FFF2-40B4-BE49-F238E27FC236}">
                <a16:creationId xmlns:a16="http://schemas.microsoft.com/office/drawing/2014/main" id="{6AC0D203-42FB-AA63-A00F-4C85C2C6FC48}"/>
              </a:ext>
            </a:extLst>
          </p:cNvPr>
          <p:cNvGrpSpPr/>
          <p:nvPr/>
        </p:nvGrpSpPr>
        <p:grpSpPr>
          <a:xfrm>
            <a:off x="-15767" y="2291998"/>
            <a:ext cx="183377" cy="7556180"/>
            <a:chOff x="-34161" y="24949"/>
            <a:chExt cx="244503" cy="10074908"/>
          </a:xfrm>
        </p:grpSpPr>
        <p:sp>
          <p:nvSpPr>
            <p:cNvPr id="39" name="TextBox 56">
              <a:extLst>
                <a:ext uri="{FF2B5EF4-FFF2-40B4-BE49-F238E27FC236}">
                  <a16:creationId xmlns:a16="http://schemas.microsoft.com/office/drawing/2014/main" id="{36AA6E0C-5C46-DF5B-D4DA-343681FF7FC8}"/>
                </a:ext>
              </a:extLst>
            </p:cNvPr>
            <p:cNvSpPr txBox="1"/>
            <p:nvPr/>
          </p:nvSpPr>
          <p:spPr>
            <a:xfrm rot="16200000">
              <a:off x="-4465808" y="4477619"/>
              <a:ext cx="9128820" cy="22348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399"/>
                </a:lnSpc>
              </a:pP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UBA 2022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schutzpotenziale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i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ommun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endParaRPr lang="en-US" sz="900" dirty="0">
                <a:solidFill>
                  <a:srgbClr val="011633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9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48" name="TextBox 57">
              <a:extLst>
                <a:ext uri="{FF2B5EF4-FFF2-40B4-BE49-F238E27FC236}">
                  <a16:creationId xmlns:a16="http://schemas.microsoft.com/office/drawing/2014/main" id="{E7209F8B-8841-4E54-8F88-E04C363DE3E6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grpSp>
        <p:nvGrpSpPr>
          <p:cNvPr id="55" name="Group 11">
            <a:extLst>
              <a:ext uri="{FF2B5EF4-FFF2-40B4-BE49-F238E27FC236}">
                <a16:creationId xmlns:a16="http://schemas.microsoft.com/office/drawing/2014/main" id="{08079A76-4AF4-395E-9190-8C92AA146CE4}"/>
              </a:ext>
            </a:extLst>
          </p:cNvPr>
          <p:cNvGrpSpPr/>
          <p:nvPr/>
        </p:nvGrpSpPr>
        <p:grpSpPr>
          <a:xfrm>
            <a:off x="615671" y="9407587"/>
            <a:ext cx="2144695" cy="440591"/>
            <a:chOff x="0" y="0"/>
            <a:chExt cx="606637" cy="124623"/>
          </a:xfrm>
        </p:grpSpPr>
        <p:sp>
          <p:nvSpPr>
            <p:cNvPr id="56" name="Freeform 12">
              <a:extLst>
                <a:ext uri="{FF2B5EF4-FFF2-40B4-BE49-F238E27FC236}">
                  <a16:creationId xmlns:a16="http://schemas.microsoft.com/office/drawing/2014/main" id="{CD36028B-86CB-968A-1076-F67B22CECB94}"/>
                </a:ext>
              </a:extLst>
            </p:cNvPr>
            <p:cNvSpPr/>
            <p:nvPr/>
          </p:nvSpPr>
          <p:spPr>
            <a:xfrm>
              <a:off x="0" y="0"/>
              <a:ext cx="606637" cy="124623"/>
            </a:xfrm>
            <a:custGeom>
              <a:avLst/>
              <a:gdLst/>
              <a:ahLst/>
              <a:cxnLst/>
              <a:rect l="l" t="t" r="r" b="b"/>
              <a:pathLst>
                <a:path w="606637" h="124623">
                  <a:moveTo>
                    <a:pt x="62312" y="0"/>
                  </a:moveTo>
                  <a:lnTo>
                    <a:pt x="544326" y="0"/>
                  </a:lnTo>
                  <a:cubicBezTo>
                    <a:pt x="560852" y="0"/>
                    <a:pt x="576701" y="6565"/>
                    <a:pt x="588387" y="18251"/>
                  </a:cubicBezTo>
                  <a:cubicBezTo>
                    <a:pt x="600072" y="29936"/>
                    <a:pt x="606637" y="45786"/>
                    <a:pt x="606637" y="62312"/>
                  </a:cubicBezTo>
                  <a:lnTo>
                    <a:pt x="606637" y="62312"/>
                  </a:lnTo>
                  <a:cubicBezTo>
                    <a:pt x="606637" y="96725"/>
                    <a:pt x="578740" y="124623"/>
                    <a:pt x="544326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57" name="TextBox 13">
              <a:extLst>
                <a:ext uri="{FF2B5EF4-FFF2-40B4-BE49-F238E27FC236}">
                  <a16:creationId xmlns:a16="http://schemas.microsoft.com/office/drawing/2014/main" id="{A7926DCE-5609-59DC-8121-E38784F3857D}"/>
                </a:ext>
              </a:extLst>
            </p:cNvPr>
            <p:cNvSpPr txBox="1"/>
            <p:nvPr/>
          </p:nvSpPr>
          <p:spPr>
            <a:xfrm>
              <a:off x="0" y="-28575"/>
              <a:ext cx="606637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58" name="TextBox 37">
            <a:extLst>
              <a:ext uri="{FF2B5EF4-FFF2-40B4-BE49-F238E27FC236}">
                <a16:creationId xmlns:a16="http://schemas.microsoft.com/office/drawing/2014/main" id="{A0E53925-5A2B-A3BD-3090-CFF0F4BF2FC0}"/>
              </a:ext>
            </a:extLst>
          </p:cNvPr>
          <p:cNvSpPr txBox="1"/>
          <p:nvPr/>
        </p:nvSpPr>
        <p:spPr>
          <a:xfrm>
            <a:off x="1025390" y="9506372"/>
            <a:ext cx="1610695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Öffentliche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Wirkung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59" name="Freeform 26">
            <a:extLst>
              <a:ext uri="{FF2B5EF4-FFF2-40B4-BE49-F238E27FC236}">
                <a16:creationId xmlns:a16="http://schemas.microsoft.com/office/drawing/2014/main" id="{E7271A07-AF14-1E3A-DD87-C130520BBE80}"/>
              </a:ext>
            </a:extLst>
          </p:cNvPr>
          <p:cNvSpPr/>
          <p:nvPr/>
        </p:nvSpPr>
        <p:spPr>
          <a:xfrm>
            <a:off x="743429" y="9517028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2"/>
                </a:lnTo>
                <a:lnTo>
                  <a:pt x="0" y="233322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dirty="0"/>
          </a:p>
        </p:txBody>
      </p:sp>
      <p:pic>
        <p:nvPicPr>
          <p:cNvPr id="60" name="Grafik 59" descr="Sterne mit einfarbiger Füllung">
            <a:extLst>
              <a:ext uri="{FF2B5EF4-FFF2-40B4-BE49-F238E27FC236}">
                <a16:creationId xmlns:a16="http://schemas.microsoft.com/office/drawing/2014/main" id="{DCA66EA8-4608-E875-FDFB-525515C3D2D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334875" y="9390978"/>
            <a:ext cx="457200" cy="457200"/>
          </a:xfrm>
          <a:prstGeom prst="rect">
            <a:avLst/>
          </a:prstGeom>
        </p:spPr>
      </p:pic>
      <p:sp>
        <p:nvSpPr>
          <p:cNvPr id="61" name="TextBox 34">
            <a:extLst>
              <a:ext uri="{FF2B5EF4-FFF2-40B4-BE49-F238E27FC236}">
                <a16:creationId xmlns:a16="http://schemas.microsoft.com/office/drawing/2014/main" id="{5A69EE73-384A-181C-2C70-5297F5D29026}"/>
              </a:ext>
            </a:extLst>
          </p:cNvPr>
          <p:cNvSpPr txBox="1"/>
          <p:nvPr/>
        </p:nvSpPr>
        <p:spPr>
          <a:xfrm>
            <a:off x="5822770" y="9500866"/>
            <a:ext cx="3385647" cy="2208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usbau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adinfrastruktur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Hannover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</p:spTree>
    <p:extLst>
      <p:ext uri="{BB962C8B-B14F-4D97-AF65-F5344CB8AC3E}">
        <p14:creationId xmlns:p14="http://schemas.microsoft.com/office/powerpoint/2010/main" val="27785116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" name="AutoShape 3"/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" name="AutoShape 4"/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5" name="Freeform 5"/>
          <p:cNvSpPr/>
          <p:nvPr/>
        </p:nvSpPr>
        <p:spPr>
          <a:xfrm>
            <a:off x="912280" y="558004"/>
            <a:ext cx="1723804" cy="1062022"/>
          </a:xfrm>
          <a:custGeom>
            <a:avLst/>
            <a:gdLst/>
            <a:ahLst/>
            <a:cxnLst/>
            <a:rect l="l" t="t" r="r" b="b"/>
            <a:pathLst>
              <a:path w="1723804" h="1062022">
                <a:moveTo>
                  <a:pt x="0" y="0"/>
                </a:moveTo>
                <a:lnTo>
                  <a:pt x="1723804" y="0"/>
                </a:lnTo>
                <a:lnTo>
                  <a:pt x="1723804" y="1062022"/>
                </a:lnTo>
                <a:lnTo>
                  <a:pt x="0" y="1062022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6" name="Group 6"/>
          <p:cNvGrpSpPr/>
          <p:nvPr/>
        </p:nvGrpSpPr>
        <p:grpSpPr>
          <a:xfrm>
            <a:off x="743429" y="1620026"/>
            <a:ext cx="2016937" cy="339603"/>
            <a:chOff x="0" y="0"/>
            <a:chExt cx="2689249" cy="452804"/>
          </a:xfrm>
        </p:grpSpPr>
        <p:grpSp>
          <p:nvGrpSpPr>
            <p:cNvPr id="7" name="Group 7"/>
            <p:cNvGrpSpPr/>
            <p:nvPr/>
          </p:nvGrpSpPr>
          <p:grpSpPr>
            <a:xfrm>
              <a:off x="0" y="0"/>
              <a:ext cx="2689249" cy="452804"/>
              <a:chOff x="0" y="0"/>
              <a:chExt cx="747014" cy="125779"/>
            </a:xfrm>
          </p:grpSpPr>
          <p:sp>
            <p:nvSpPr>
              <p:cNvPr id="8" name="Freeform 8"/>
              <p:cNvSpPr/>
              <p:nvPr/>
            </p:nvSpPr>
            <p:spPr>
              <a:xfrm>
                <a:off x="0" y="0"/>
                <a:ext cx="747014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747014" h="125779">
                    <a:moveTo>
                      <a:pt x="0" y="0"/>
                    </a:moveTo>
                    <a:lnTo>
                      <a:pt x="747014" y="0"/>
                    </a:lnTo>
                    <a:lnTo>
                      <a:pt x="747014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" name="TextBox 9"/>
              <p:cNvSpPr txBox="1"/>
              <p:nvPr/>
            </p:nvSpPr>
            <p:spPr>
              <a:xfrm>
                <a:off x="0" y="-114300"/>
                <a:ext cx="747014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10" name="TextBox 10"/>
            <p:cNvSpPr txBox="1"/>
            <p:nvPr/>
          </p:nvSpPr>
          <p:spPr>
            <a:xfrm>
              <a:off x="65038" y="18756"/>
              <a:ext cx="2559172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 dirty="0" err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Verkehrssektor</a:t>
              </a:r>
              <a:endParaRPr lang="en-US" sz="1799" b="1" dirty="0">
                <a:solidFill>
                  <a:srgbClr val="FFC80C"/>
                </a:solidFill>
                <a:latin typeface="Open Sans Bold"/>
                <a:ea typeface="Open Sans Bold"/>
                <a:cs typeface="Open Sans Bold"/>
                <a:sym typeface="Open Sans Bold"/>
              </a:endParaRPr>
            </a:p>
          </p:txBody>
        </p:sp>
      </p:grpSp>
      <p:sp>
        <p:nvSpPr>
          <p:cNvPr id="11" name="Freeform 11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5" name="Group 35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6" name="Freeform 36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45" name="TextBox 45"/>
          <p:cNvSpPr txBox="1"/>
          <p:nvPr/>
        </p:nvSpPr>
        <p:spPr>
          <a:xfrm>
            <a:off x="517221" y="2150128"/>
            <a:ext cx="12097407" cy="266643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bau ÖPNV als Teil der Mobilitätsplanung. Zu einem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nsequenten Ausbau und einer besseren Qualität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hören z.B. diese Maßnahmen: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treckenausbau des ÖPNV: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nsequenter Ausbau kommuneneigener Linien und Einsatz für eine Erweiterung des Angebots beim Land bzw. beim regionalen Verkehrsverbund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stärkte und integrierte Taktung des bestehenden ÖPNV: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bstimmung mit regionalem und überregionalem Mobilitätsangebot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richtung und Ausbau von </a:t>
            </a:r>
            <a:r>
              <a:rPr lang="de-DE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obility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hubs und Sharing Systemen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ür schnellere Mobilität über MIV hinaus </a:t>
            </a:r>
          </a:p>
        </p:txBody>
      </p:sp>
      <p:sp>
        <p:nvSpPr>
          <p:cNvPr id="46" name="TextBox 46"/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</a:p>
        </p:txBody>
      </p:sp>
      <p:sp>
        <p:nvSpPr>
          <p:cNvPr id="47" name="TextBox 47"/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 Akteure</a:t>
            </a:r>
          </a:p>
        </p:txBody>
      </p:sp>
      <p:sp>
        <p:nvSpPr>
          <p:cNvPr id="49" name="TextBox 49"/>
          <p:cNvSpPr txBox="1"/>
          <p:nvPr/>
        </p:nvSpPr>
        <p:spPr>
          <a:xfrm>
            <a:off x="13469326" y="6989092"/>
            <a:ext cx="4203003" cy="226568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olitischer Beschluss:</a:t>
            </a:r>
            <a:r>
              <a:rPr lang="en-US" sz="1899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tadt-/Gemeinderat </a:t>
            </a: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führung:</a:t>
            </a:r>
            <a:r>
              <a:rPr lang="en-US" sz="1899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Kommunale Verwaltung</a:t>
            </a: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etzung:</a:t>
            </a:r>
            <a:r>
              <a:rPr lang="en-US" sz="1899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tadtwerke, Genossenschaften, Investor:innen </a:t>
            </a:r>
          </a:p>
        </p:txBody>
      </p:sp>
      <p:sp>
        <p:nvSpPr>
          <p:cNvPr id="50" name="TextBox 50"/>
          <p:cNvSpPr txBox="1"/>
          <p:nvPr/>
        </p:nvSpPr>
        <p:spPr>
          <a:xfrm>
            <a:off x="16840200" y="9541473"/>
            <a:ext cx="964187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5</a:t>
            </a:r>
          </a:p>
        </p:txBody>
      </p:sp>
      <p:sp>
        <p:nvSpPr>
          <p:cNvPr id="51" name="TextBox 51"/>
          <p:cNvSpPr txBox="1"/>
          <p:nvPr/>
        </p:nvSpPr>
        <p:spPr>
          <a:xfrm>
            <a:off x="13636773" y="5715305"/>
            <a:ext cx="4035556" cy="4515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VAG </a:t>
            </a: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Holthuser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Tal</a:t>
            </a:r>
          </a:p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kimedia Commons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52" name="Group 52"/>
          <p:cNvGrpSpPr/>
          <p:nvPr/>
        </p:nvGrpSpPr>
        <p:grpSpPr>
          <a:xfrm>
            <a:off x="2760366" y="825897"/>
            <a:ext cx="11894274" cy="884858"/>
            <a:chOff x="0" y="-38100"/>
            <a:chExt cx="15859032" cy="1179810"/>
          </a:xfrm>
        </p:grpSpPr>
        <p:sp>
          <p:nvSpPr>
            <p:cNvPr id="53" name="TextBox 53"/>
            <p:cNvSpPr txBox="1"/>
            <p:nvPr/>
          </p:nvSpPr>
          <p:spPr>
            <a:xfrm>
              <a:off x="0" y="456565"/>
              <a:ext cx="15859032" cy="68514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Ausbau und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Attraktivierung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des ÖPNV-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Angebots</a:t>
              </a:r>
              <a:endPara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  <p:sp>
          <p:nvSpPr>
            <p:cNvPr id="54" name="TextBox 54"/>
            <p:cNvSpPr txBox="1"/>
            <p:nvPr/>
          </p:nvSpPr>
          <p:spPr>
            <a:xfrm>
              <a:off x="0" y="-38100"/>
              <a:ext cx="1501112" cy="408574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4</a:t>
              </a:r>
            </a:p>
          </p:txBody>
        </p:sp>
      </p:grpSp>
      <p:sp>
        <p:nvSpPr>
          <p:cNvPr id="12" name="TextBox 48">
            <a:extLst>
              <a:ext uri="{FF2B5EF4-FFF2-40B4-BE49-F238E27FC236}">
                <a16:creationId xmlns:a16="http://schemas.microsoft.com/office/drawing/2014/main" id="{C30EFABA-1768-F7FC-7171-3BF09714D40F}"/>
              </a:ext>
            </a:extLst>
          </p:cNvPr>
          <p:cNvSpPr txBox="1"/>
          <p:nvPr/>
        </p:nvSpPr>
        <p:spPr>
          <a:xfrm>
            <a:off x="889210" y="7027192"/>
            <a:ext cx="11554521" cy="112755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Enabling-</a:t>
            </a: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rmöglich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Nutz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THG-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rei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kehrsträg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;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etz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zw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atsächlich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tie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ritte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C45BDA3-09B3-8EE2-C987-5EAB387D9150}"/>
              </a:ext>
            </a:extLst>
          </p:cNvPr>
          <p:cNvGrpSpPr/>
          <p:nvPr/>
        </p:nvGrpSpPr>
        <p:grpSpPr>
          <a:xfrm>
            <a:off x="615671" y="7151017"/>
            <a:ext cx="188501" cy="188501"/>
            <a:chOff x="0" y="0"/>
            <a:chExt cx="812800" cy="812800"/>
          </a:xfrm>
        </p:grpSpPr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56818D3E-F40A-331D-E60A-D87BF1EA5665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FC80C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37" name="TextBox 14">
              <a:extLst>
                <a:ext uri="{FF2B5EF4-FFF2-40B4-BE49-F238E27FC236}">
                  <a16:creationId xmlns:a16="http://schemas.microsoft.com/office/drawing/2014/main" id="{4A79EEA9-229D-2940-D7F4-E61ACA2B22A3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38" name="Group 55">
            <a:extLst>
              <a:ext uri="{FF2B5EF4-FFF2-40B4-BE49-F238E27FC236}">
                <a16:creationId xmlns:a16="http://schemas.microsoft.com/office/drawing/2014/main" id="{6AC0D203-42FB-AA63-A00F-4C85C2C6FC48}"/>
              </a:ext>
            </a:extLst>
          </p:cNvPr>
          <p:cNvGrpSpPr/>
          <p:nvPr/>
        </p:nvGrpSpPr>
        <p:grpSpPr>
          <a:xfrm>
            <a:off x="-15767" y="2291998"/>
            <a:ext cx="183377" cy="7556180"/>
            <a:chOff x="-34161" y="24949"/>
            <a:chExt cx="244503" cy="10074908"/>
          </a:xfrm>
        </p:grpSpPr>
        <p:sp>
          <p:nvSpPr>
            <p:cNvPr id="39" name="TextBox 56">
              <a:extLst>
                <a:ext uri="{FF2B5EF4-FFF2-40B4-BE49-F238E27FC236}">
                  <a16:creationId xmlns:a16="http://schemas.microsoft.com/office/drawing/2014/main" id="{36AA6E0C-5C46-DF5B-D4DA-343681FF7FC8}"/>
                </a:ext>
              </a:extLst>
            </p:cNvPr>
            <p:cNvSpPr txBox="1"/>
            <p:nvPr/>
          </p:nvSpPr>
          <p:spPr>
            <a:xfrm rot="16200000">
              <a:off x="-4465808" y="4477619"/>
              <a:ext cx="9128820" cy="22348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399"/>
                </a:lnSpc>
              </a:pP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UBA 2022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schutzpotenziale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i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ommun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endParaRPr lang="en-US" sz="900" dirty="0">
                <a:solidFill>
                  <a:srgbClr val="011633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7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48" name="TextBox 57">
              <a:extLst>
                <a:ext uri="{FF2B5EF4-FFF2-40B4-BE49-F238E27FC236}">
                  <a16:creationId xmlns:a16="http://schemas.microsoft.com/office/drawing/2014/main" id="{E7209F8B-8841-4E54-8F88-E04C363DE3E6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grpSp>
        <p:nvGrpSpPr>
          <p:cNvPr id="55" name="Group 18">
            <a:extLst>
              <a:ext uri="{FF2B5EF4-FFF2-40B4-BE49-F238E27FC236}">
                <a16:creationId xmlns:a16="http://schemas.microsoft.com/office/drawing/2014/main" id="{276D60AC-98FA-D4BB-BF9A-E2410D0D10A7}"/>
              </a:ext>
            </a:extLst>
          </p:cNvPr>
          <p:cNvGrpSpPr/>
          <p:nvPr/>
        </p:nvGrpSpPr>
        <p:grpSpPr>
          <a:xfrm>
            <a:off x="2876996" y="9407587"/>
            <a:ext cx="2341249" cy="440591"/>
            <a:chOff x="0" y="0"/>
            <a:chExt cx="662234" cy="124623"/>
          </a:xfrm>
        </p:grpSpPr>
        <p:sp>
          <p:nvSpPr>
            <p:cNvPr id="56" name="Freeform 19">
              <a:extLst>
                <a:ext uri="{FF2B5EF4-FFF2-40B4-BE49-F238E27FC236}">
                  <a16:creationId xmlns:a16="http://schemas.microsoft.com/office/drawing/2014/main" id="{F9452BC5-EB7B-46E9-A7D2-CA369090C27E}"/>
                </a:ext>
              </a:extLst>
            </p:cNvPr>
            <p:cNvSpPr/>
            <p:nvPr/>
          </p:nvSpPr>
          <p:spPr>
            <a:xfrm>
              <a:off x="0" y="0"/>
              <a:ext cx="662234" cy="124623"/>
            </a:xfrm>
            <a:custGeom>
              <a:avLst/>
              <a:gdLst/>
              <a:ahLst/>
              <a:cxnLst/>
              <a:rect l="l" t="t" r="r" b="b"/>
              <a:pathLst>
                <a:path w="662234" h="124623">
                  <a:moveTo>
                    <a:pt x="62312" y="0"/>
                  </a:moveTo>
                  <a:lnTo>
                    <a:pt x="599922" y="0"/>
                  </a:lnTo>
                  <a:cubicBezTo>
                    <a:pt x="616448" y="0"/>
                    <a:pt x="632297" y="6565"/>
                    <a:pt x="643983" y="18251"/>
                  </a:cubicBezTo>
                  <a:cubicBezTo>
                    <a:pt x="655669" y="29936"/>
                    <a:pt x="662234" y="45786"/>
                    <a:pt x="662234" y="62312"/>
                  </a:cubicBezTo>
                  <a:lnTo>
                    <a:pt x="662234" y="62312"/>
                  </a:lnTo>
                  <a:cubicBezTo>
                    <a:pt x="662234" y="78838"/>
                    <a:pt x="655669" y="94687"/>
                    <a:pt x="643983" y="106373"/>
                  </a:cubicBezTo>
                  <a:cubicBezTo>
                    <a:pt x="632297" y="118058"/>
                    <a:pt x="616448" y="124623"/>
                    <a:pt x="599922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57" name="TextBox 20">
              <a:extLst>
                <a:ext uri="{FF2B5EF4-FFF2-40B4-BE49-F238E27FC236}">
                  <a16:creationId xmlns:a16="http://schemas.microsoft.com/office/drawing/2014/main" id="{019D5A0B-2574-F53D-13EC-392D2F1DE756}"/>
                </a:ext>
              </a:extLst>
            </p:cNvPr>
            <p:cNvSpPr txBox="1"/>
            <p:nvPr/>
          </p:nvSpPr>
          <p:spPr>
            <a:xfrm>
              <a:off x="0" y="-28575"/>
              <a:ext cx="662234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58" name="Freeform 33">
            <a:extLst>
              <a:ext uri="{FF2B5EF4-FFF2-40B4-BE49-F238E27FC236}">
                <a16:creationId xmlns:a16="http://schemas.microsoft.com/office/drawing/2014/main" id="{5A88FFDB-9905-D4EA-A914-62D566C1B0A0}"/>
              </a:ext>
            </a:extLst>
          </p:cNvPr>
          <p:cNvSpPr/>
          <p:nvPr/>
        </p:nvSpPr>
        <p:spPr>
          <a:xfrm>
            <a:off x="2996849" y="9503441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3" y="0"/>
                </a:lnTo>
                <a:lnTo>
                  <a:pt x="233323" y="233322"/>
                </a:lnTo>
                <a:lnTo>
                  <a:pt x="0" y="233322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9" name="TextBox 40">
            <a:extLst>
              <a:ext uri="{FF2B5EF4-FFF2-40B4-BE49-F238E27FC236}">
                <a16:creationId xmlns:a16="http://schemas.microsoft.com/office/drawing/2014/main" id="{641C644A-5D09-46BC-2F50-CA5D696F03A6}"/>
              </a:ext>
            </a:extLst>
          </p:cNvPr>
          <p:cNvSpPr txBox="1"/>
          <p:nvPr/>
        </p:nvSpPr>
        <p:spPr>
          <a:xfrm>
            <a:off x="3277797" y="9500566"/>
            <a:ext cx="1765348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>
                <a:solidFill>
                  <a:srgbClr val="000000"/>
                </a:solidFill>
                <a:latin typeface="DM Sans 1"/>
                <a:ea typeface="DM Sans 1"/>
                <a:cs typeface="DM Sans 1"/>
                <a:sym typeface="DM Sans 1"/>
              </a:rPr>
              <a:t>THG-Einsparpotenzial</a:t>
            </a:r>
          </a:p>
        </p:txBody>
      </p:sp>
      <p:grpSp>
        <p:nvGrpSpPr>
          <p:cNvPr id="60" name="Group 11">
            <a:extLst>
              <a:ext uri="{FF2B5EF4-FFF2-40B4-BE49-F238E27FC236}">
                <a16:creationId xmlns:a16="http://schemas.microsoft.com/office/drawing/2014/main" id="{A882F683-0879-8E6B-50B8-2618413765F3}"/>
              </a:ext>
            </a:extLst>
          </p:cNvPr>
          <p:cNvGrpSpPr/>
          <p:nvPr/>
        </p:nvGrpSpPr>
        <p:grpSpPr>
          <a:xfrm>
            <a:off x="615671" y="9407587"/>
            <a:ext cx="2144695" cy="440591"/>
            <a:chOff x="0" y="0"/>
            <a:chExt cx="606637" cy="124623"/>
          </a:xfrm>
        </p:grpSpPr>
        <p:sp>
          <p:nvSpPr>
            <p:cNvPr id="61" name="Freeform 12">
              <a:extLst>
                <a:ext uri="{FF2B5EF4-FFF2-40B4-BE49-F238E27FC236}">
                  <a16:creationId xmlns:a16="http://schemas.microsoft.com/office/drawing/2014/main" id="{5A178273-8E0E-DC78-7CDF-5BFE92666DEB}"/>
                </a:ext>
              </a:extLst>
            </p:cNvPr>
            <p:cNvSpPr/>
            <p:nvPr/>
          </p:nvSpPr>
          <p:spPr>
            <a:xfrm>
              <a:off x="0" y="0"/>
              <a:ext cx="606637" cy="124623"/>
            </a:xfrm>
            <a:custGeom>
              <a:avLst/>
              <a:gdLst/>
              <a:ahLst/>
              <a:cxnLst/>
              <a:rect l="l" t="t" r="r" b="b"/>
              <a:pathLst>
                <a:path w="606637" h="124623">
                  <a:moveTo>
                    <a:pt x="62312" y="0"/>
                  </a:moveTo>
                  <a:lnTo>
                    <a:pt x="544326" y="0"/>
                  </a:lnTo>
                  <a:cubicBezTo>
                    <a:pt x="560852" y="0"/>
                    <a:pt x="576701" y="6565"/>
                    <a:pt x="588387" y="18251"/>
                  </a:cubicBezTo>
                  <a:cubicBezTo>
                    <a:pt x="600072" y="29936"/>
                    <a:pt x="606637" y="45786"/>
                    <a:pt x="606637" y="62312"/>
                  </a:cubicBezTo>
                  <a:lnTo>
                    <a:pt x="606637" y="62312"/>
                  </a:lnTo>
                  <a:cubicBezTo>
                    <a:pt x="606637" y="96725"/>
                    <a:pt x="578740" y="124623"/>
                    <a:pt x="544326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62" name="TextBox 13">
              <a:extLst>
                <a:ext uri="{FF2B5EF4-FFF2-40B4-BE49-F238E27FC236}">
                  <a16:creationId xmlns:a16="http://schemas.microsoft.com/office/drawing/2014/main" id="{E4A6EA8E-11C6-80E4-24C7-9506D0E30BAB}"/>
                </a:ext>
              </a:extLst>
            </p:cNvPr>
            <p:cNvSpPr txBox="1"/>
            <p:nvPr/>
          </p:nvSpPr>
          <p:spPr>
            <a:xfrm>
              <a:off x="0" y="-28575"/>
              <a:ext cx="606637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63" name="TextBox 37">
            <a:extLst>
              <a:ext uri="{FF2B5EF4-FFF2-40B4-BE49-F238E27FC236}">
                <a16:creationId xmlns:a16="http://schemas.microsoft.com/office/drawing/2014/main" id="{25104E6B-F08E-1C1A-05CA-DA6DF4715D7E}"/>
              </a:ext>
            </a:extLst>
          </p:cNvPr>
          <p:cNvSpPr txBox="1"/>
          <p:nvPr/>
        </p:nvSpPr>
        <p:spPr>
          <a:xfrm>
            <a:off x="1025390" y="9506372"/>
            <a:ext cx="1610695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Öffentliche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Wirkung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64" name="Freeform 26">
            <a:extLst>
              <a:ext uri="{FF2B5EF4-FFF2-40B4-BE49-F238E27FC236}">
                <a16:creationId xmlns:a16="http://schemas.microsoft.com/office/drawing/2014/main" id="{FC3D4D6A-5842-56B0-D08E-CD32A6400DF9}"/>
              </a:ext>
            </a:extLst>
          </p:cNvPr>
          <p:cNvSpPr/>
          <p:nvPr/>
        </p:nvSpPr>
        <p:spPr>
          <a:xfrm>
            <a:off x="743429" y="9517028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2"/>
                </a:lnTo>
                <a:lnTo>
                  <a:pt x="0" y="233322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dirty="0"/>
          </a:p>
        </p:txBody>
      </p:sp>
      <p:pic>
        <p:nvPicPr>
          <p:cNvPr id="65" name="Grafik 64" descr="Sterne mit einfarbiger Füllung">
            <a:extLst>
              <a:ext uri="{FF2B5EF4-FFF2-40B4-BE49-F238E27FC236}">
                <a16:creationId xmlns:a16="http://schemas.microsoft.com/office/drawing/2014/main" id="{6DA49E03-0730-CAA3-6E84-DF86C879B7A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334875" y="9390978"/>
            <a:ext cx="457200" cy="457200"/>
          </a:xfrm>
          <a:prstGeom prst="rect">
            <a:avLst/>
          </a:prstGeom>
        </p:spPr>
      </p:pic>
      <p:sp>
        <p:nvSpPr>
          <p:cNvPr id="66" name="TextBox 34">
            <a:extLst>
              <a:ext uri="{FF2B5EF4-FFF2-40B4-BE49-F238E27FC236}">
                <a16:creationId xmlns:a16="http://schemas.microsoft.com/office/drawing/2014/main" id="{F23B14B0-AF4A-0123-BAC5-F65294E934F6}"/>
              </a:ext>
            </a:extLst>
          </p:cNvPr>
          <p:cNvSpPr txBox="1"/>
          <p:nvPr/>
        </p:nvSpPr>
        <p:spPr>
          <a:xfrm>
            <a:off x="5822770" y="9500866"/>
            <a:ext cx="3385647" cy="2208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usbau ÖPNV Hannover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</p:spTree>
    <p:extLst>
      <p:ext uri="{BB962C8B-B14F-4D97-AF65-F5344CB8AC3E}">
        <p14:creationId xmlns:p14="http://schemas.microsoft.com/office/powerpoint/2010/main" val="14078344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Flussdiagramm: Verbinder 54">
            <a:extLst>
              <a:ext uri="{FF2B5EF4-FFF2-40B4-BE49-F238E27FC236}">
                <a16:creationId xmlns:a16="http://schemas.microsoft.com/office/drawing/2014/main" id="{522FA1C2-C177-A9E4-BBCE-C8D1978EA0CA}"/>
              </a:ext>
            </a:extLst>
          </p:cNvPr>
          <p:cNvSpPr/>
          <p:nvPr/>
        </p:nvSpPr>
        <p:spPr>
          <a:xfrm>
            <a:off x="632707" y="7153921"/>
            <a:ext cx="188501" cy="188497"/>
          </a:xfrm>
          <a:prstGeom prst="flowChartConnector">
            <a:avLst/>
          </a:prstGeom>
          <a:solidFill>
            <a:srgbClr val="00AE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" name="AutoShape 3"/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" name="AutoShape 4"/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5" name="Freeform 5"/>
          <p:cNvSpPr/>
          <p:nvPr/>
        </p:nvSpPr>
        <p:spPr>
          <a:xfrm>
            <a:off x="912280" y="558004"/>
            <a:ext cx="1723804" cy="1062022"/>
          </a:xfrm>
          <a:custGeom>
            <a:avLst/>
            <a:gdLst/>
            <a:ahLst/>
            <a:cxnLst/>
            <a:rect l="l" t="t" r="r" b="b"/>
            <a:pathLst>
              <a:path w="1723804" h="1062022">
                <a:moveTo>
                  <a:pt x="0" y="0"/>
                </a:moveTo>
                <a:lnTo>
                  <a:pt x="1723804" y="0"/>
                </a:lnTo>
                <a:lnTo>
                  <a:pt x="1723804" y="1062022"/>
                </a:lnTo>
                <a:lnTo>
                  <a:pt x="0" y="1062022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6" name="Group 6"/>
          <p:cNvGrpSpPr/>
          <p:nvPr/>
        </p:nvGrpSpPr>
        <p:grpSpPr>
          <a:xfrm>
            <a:off x="743429" y="1620026"/>
            <a:ext cx="2016937" cy="339603"/>
            <a:chOff x="0" y="0"/>
            <a:chExt cx="2689249" cy="452804"/>
          </a:xfrm>
        </p:grpSpPr>
        <p:grpSp>
          <p:nvGrpSpPr>
            <p:cNvPr id="7" name="Group 7"/>
            <p:cNvGrpSpPr/>
            <p:nvPr/>
          </p:nvGrpSpPr>
          <p:grpSpPr>
            <a:xfrm>
              <a:off x="0" y="0"/>
              <a:ext cx="2689249" cy="452804"/>
              <a:chOff x="0" y="0"/>
              <a:chExt cx="747014" cy="125779"/>
            </a:xfrm>
          </p:grpSpPr>
          <p:sp>
            <p:nvSpPr>
              <p:cNvPr id="8" name="Freeform 8"/>
              <p:cNvSpPr/>
              <p:nvPr/>
            </p:nvSpPr>
            <p:spPr>
              <a:xfrm>
                <a:off x="0" y="0"/>
                <a:ext cx="747014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747014" h="125779">
                    <a:moveTo>
                      <a:pt x="0" y="0"/>
                    </a:moveTo>
                    <a:lnTo>
                      <a:pt x="747014" y="0"/>
                    </a:lnTo>
                    <a:lnTo>
                      <a:pt x="747014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" name="TextBox 9"/>
              <p:cNvSpPr txBox="1"/>
              <p:nvPr/>
            </p:nvSpPr>
            <p:spPr>
              <a:xfrm>
                <a:off x="0" y="-114300"/>
                <a:ext cx="747014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10" name="TextBox 10"/>
            <p:cNvSpPr txBox="1"/>
            <p:nvPr/>
          </p:nvSpPr>
          <p:spPr>
            <a:xfrm>
              <a:off x="65038" y="18756"/>
              <a:ext cx="2559172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 dirty="0" err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Verkehrssektor</a:t>
              </a:r>
              <a:endParaRPr lang="en-US" sz="1799" b="1" dirty="0">
                <a:solidFill>
                  <a:srgbClr val="FFC80C"/>
                </a:solidFill>
                <a:latin typeface="Open Sans Bold"/>
                <a:ea typeface="Open Sans Bold"/>
                <a:cs typeface="Open Sans Bold"/>
                <a:sym typeface="Open Sans Bold"/>
              </a:endParaRPr>
            </a:p>
          </p:txBody>
        </p:sp>
      </p:grpSp>
      <p:sp>
        <p:nvSpPr>
          <p:cNvPr id="11" name="Freeform 11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5" name="Group 35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6" name="Freeform 36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45" name="TextBox 45"/>
          <p:cNvSpPr txBox="1"/>
          <p:nvPr/>
        </p:nvSpPr>
        <p:spPr>
          <a:xfrm>
            <a:off x="517221" y="2150128"/>
            <a:ext cx="12409180" cy="11275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arbeitung eines Elektrifizierungsfahrplans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es öffentlichen Bus- und Bahnangebots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nkl. etwaiger Akquirierung von Landes- und Bundes-Fördergeldern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Neben der Umstellung auf nichtfossil betriebene Busse (v.a. e-Motoren, ggf. auch Wasserstoff) bedarf es einem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eitigen Ausbau der Ladeinfrastruktur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</a:t>
            </a:r>
          </a:p>
        </p:txBody>
      </p:sp>
      <p:sp>
        <p:nvSpPr>
          <p:cNvPr id="46" name="TextBox 46"/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</a:p>
        </p:txBody>
      </p:sp>
      <p:sp>
        <p:nvSpPr>
          <p:cNvPr id="47" name="TextBox 47"/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 Akteure</a:t>
            </a:r>
          </a:p>
        </p:txBody>
      </p:sp>
      <p:sp>
        <p:nvSpPr>
          <p:cNvPr id="49" name="TextBox 49"/>
          <p:cNvSpPr txBox="1"/>
          <p:nvPr/>
        </p:nvSpPr>
        <p:spPr>
          <a:xfrm>
            <a:off x="13469326" y="6989092"/>
            <a:ext cx="4203003" cy="226568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olitischer Beschluss:</a:t>
            </a:r>
            <a:r>
              <a:rPr lang="en-US" sz="1899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tadt-/Gemeinderat </a:t>
            </a: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führung:</a:t>
            </a:r>
            <a:r>
              <a:rPr lang="en-US" sz="1899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Kommunale Verwaltung</a:t>
            </a: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etzung:</a:t>
            </a:r>
            <a:r>
              <a:rPr lang="en-US" sz="1899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tadtwerke, Genossenschaften, Investor:innen </a:t>
            </a:r>
          </a:p>
        </p:txBody>
      </p:sp>
      <p:sp>
        <p:nvSpPr>
          <p:cNvPr id="50" name="TextBox 50"/>
          <p:cNvSpPr txBox="1"/>
          <p:nvPr/>
        </p:nvSpPr>
        <p:spPr>
          <a:xfrm>
            <a:off x="16840200" y="9541473"/>
            <a:ext cx="964187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6</a:t>
            </a:r>
          </a:p>
        </p:txBody>
      </p:sp>
      <p:sp>
        <p:nvSpPr>
          <p:cNvPr id="51" name="TextBox 51"/>
          <p:cNvSpPr txBox="1"/>
          <p:nvPr/>
        </p:nvSpPr>
        <p:spPr>
          <a:xfrm>
            <a:off x="13636773" y="5715305"/>
            <a:ext cx="4035556" cy="4515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lektrischer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Bus</a:t>
            </a:r>
          </a:p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kimedia Commons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52" name="Group 52"/>
          <p:cNvGrpSpPr/>
          <p:nvPr/>
        </p:nvGrpSpPr>
        <p:grpSpPr>
          <a:xfrm>
            <a:off x="2760366" y="825897"/>
            <a:ext cx="11894274" cy="884858"/>
            <a:chOff x="0" y="-38100"/>
            <a:chExt cx="15859032" cy="1179810"/>
          </a:xfrm>
        </p:grpSpPr>
        <p:sp>
          <p:nvSpPr>
            <p:cNvPr id="53" name="TextBox 53"/>
            <p:cNvSpPr txBox="1"/>
            <p:nvPr/>
          </p:nvSpPr>
          <p:spPr>
            <a:xfrm>
              <a:off x="0" y="456565"/>
              <a:ext cx="15859032" cy="68514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Einkauf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Elektrobusse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für den ÖPNV</a:t>
              </a:r>
            </a:p>
          </p:txBody>
        </p:sp>
        <p:sp>
          <p:nvSpPr>
            <p:cNvPr id="54" name="TextBox 54"/>
            <p:cNvSpPr txBox="1"/>
            <p:nvPr/>
          </p:nvSpPr>
          <p:spPr>
            <a:xfrm>
              <a:off x="0" y="-38100"/>
              <a:ext cx="1501112" cy="408574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5</a:t>
              </a:r>
            </a:p>
          </p:txBody>
        </p:sp>
      </p:grpSp>
      <p:sp>
        <p:nvSpPr>
          <p:cNvPr id="12" name="TextBox 48">
            <a:extLst>
              <a:ext uri="{FF2B5EF4-FFF2-40B4-BE49-F238E27FC236}">
                <a16:creationId xmlns:a16="http://schemas.microsoft.com/office/drawing/2014/main" id="{C30EFABA-1768-F7FC-7171-3BF09714D40F}"/>
              </a:ext>
            </a:extLst>
          </p:cNvPr>
          <p:cNvSpPr txBox="1"/>
          <p:nvPr/>
        </p:nvSpPr>
        <p:spPr>
          <a:xfrm>
            <a:off x="889210" y="7027192"/>
            <a:ext cx="11554521" cy="742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Technisch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spar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rsetz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s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kehrs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i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brennermotor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auf E-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ahrzeuge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38" name="Group 55">
            <a:extLst>
              <a:ext uri="{FF2B5EF4-FFF2-40B4-BE49-F238E27FC236}">
                <a16:creationId xmlns:a16="http://schemas.microsoft.com/office/drawing/2014/main" id="{6AC0D203-42FB-AA63-A00F-4C85C2C6FC48}"/>
              </a:ext>
            </a:extLst>
          </p:cNvPr>
          <p:cNvGrpSpPr/>
          <p:nvPr/>
        </p:nvGrpSpPr>
        <p:grpSpPr>
          <a:xfrm>
            <a:off x="-15767" y="2291998"/>
            <a:ext cx="183377" cy="7556180"/>
            <a:chOff x="-34161" y="24949"/>
            <a:chExt cx="244503" cy="10074908"/>
          </a:xfrm>
        </p:grpSpPr>
        <p:sp>
          <p:nvSpPr>
            <p:cNvPr id="39" name="TextBox 56">
              <a:extLst>
                <a:ext uri="{FF2B5EF4-FFF2-40B4-BE49-F238E27FC236}">
                  <a16:creationId xmlns:a16="http://schemas.microsoft.com/office/drawing/2014/main" id="{36AA6E0C-5C46-DF5B-D4DA-343681FF7FC8}"/>
                </a:ext>
              </a:extLst>
            </p:cNvPr>
            <p:cNvSpPr txBox="1"/>
            <p:nvPr/>
          </p:nvSpPr>
          <p:spPr>
            <a:xfrm rot="16200000">
              <a:off x="-4465808" y="4477619"/>
              <a:ext cx="9128820" cy="22348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399"/>
                </a:lnSpc>
              </a:pP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UBA 2022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schutzpotenziale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i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ommun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endParaRPr lang="en-US" sz="900" dirty="0">
                <a:solidFill>
                  <a:srgbClr val="011633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7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48" name="TextBox 57">
              <a:extLst>
                <a:ext uri="{FF2B5EF4-FFF2-40B4-BE49-F238E27FC236}">
                  <a16:creationId xmlns:a16="http://schemas.microsoft.com/office/drawing/2014/main" id="{E7209F8B-8841-4E54-8F88-E04C363DE3E6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grpSp>
        <p:nvGrpSpPr>
          <p:cNvPr id="58" name="Group 11">
            <a:extLst>
              <a:ext uri="{FF2B5EF4-FFF2-40B4-BE49-F238E27FC236}">
                <a16:creationId xmlns:a16="http://schemas.microsoft.com/office/drawing/2014/main" id="{F01C1E2C-B525-BD06-B3A0-D582363E091D}"/>
              </a:ext>
            </a:extLst>
          </p:cNvPr>
          <p:cNvGrpSpPr/>
          <p:nvPr/>
        </p:nvGrpSpPr>
        <p:grpSpPr>
          <a:xfrm>
            <a:off x="615671" y="9407587"/>
            <a:ext cx="2144695" cy="440591"/>
            <a:chOff x="0" y="0"/>
            <a:chExt cx="606637" cy="124623"/>
          </a:xfrm>
        </p:grpSpPr>
        <p:sp>
          <p:nvSpPr>
            <p:cNvPr id="59" name="Freeform 12">
              <a:extLst>
                <a:ext uri="{FF2B5EF4-FFF2-40B4-BE49-F238E27FC236}">
                  <a16:creationId xmlns:a16="http://schemas.microsoft.com/office/drawing/2014/main" id="{8E9A9C74-57CD-E747-8CE1-EE4A138E1DDF}"/>
                </a:ext>
              </a:extLst>
            </p:cNvPr>
            <p:cNvSpPr/>
            <p:nvPr/>
          </p:nvSpPr>
          <p:spPr>
            <a:xfrm>
              <a:off x="0" y="0"/>
              <a:ext cx="606637" cy="124623"/>
            </a:xfrm>
            <a:custGeom>
              <a:avLst/>
              <a:gdLst/>
              <a:ahLst/>
              <a:cxnLst/>
              <a:rect l="l" t="t" r="r" b="b"/>
              <a:pathLst>
                <a:path w="606637" h="124623">
                  <a:moveTo>
                    <a:pt x="62312" y="0"/>
                  </a:moveTo>
                  <a:lnTo>
                    <a:pt x="544326" y="0"/>
                  </a:lnTo>
                  <a:cubicBezTo>
                    <a:pt x="560852" y="0"/>
                    <a:pt x="576701" y="6565"/>
                    <a:pt x="588387" y="18251"/>
                  </a:cubicBezTo>
                  <a:cubicBezTo>
                    <a:pt x="600072" y="29936"/>
                    <a:pt x="606637" y="45786"/>
                    <a:pt x="606637" y="62312"/>
                  </a:cubicBezTo>
                  <a:lnTo>
                    <a:pt x="606637" y="62312"/>
                  </a:lnTo>
                  <a:cubicBezTo>
                    <a:pt x="606637" y="96725"/>
                    <a:pt x="578740" y="124623"/>
                    <a:pt x="544326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60" name="TextBox 13">
              <a:extLst>
                <a:ext uri="{FF2B5EF4-FFF2-40B4-BE49-F238E27FC236}">
                  <a16:creationId xmlns:a16="http://schemas.microsoft.com/office/drawing/2014/main" id="{0B4C63F2-9B41-616F-9D16-7D8D3475F2D4}"/>
                </a:ext>
              </a:extLst>
            </p:cNvPr>
            <p:cNvSpPr txBox="1"/>
            <p:nvPr/>
          </p:nvSpPr>
          <p:spPr>
            <a:xfrm>
              <a:off x="0" y="-28575"/>
              <a:ext cx="606637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61" name="TextBox 37">
            <a:extLst>
              <a:ext uri="{FF2B5EF4-FFF2-40B4-BE49-F238E27FC236}">
                <a16:creationId xmlns:a16="http://schemas.microsoft.com/office/drawing/2014/main" id="{C1243BED-39A8-0AB7-02B0-914098861421}"/>
              </a:ext>
            </a:extLst>
          </p:cNvPr>
          <p:cNvSpPr txBox="1"/>
          <p:nvPr/>
        </p:nvSpPr>
        <p:spPr>
          <a:xfrm>
            <a:off x="1025390" y="9506372"/>
            <a:ext cx="1610695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Öffentliche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Wirkung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62" name="Freeform 26">
            <a:extLst>
              <a:ext uri="{FF2B5EF4-FFF2-40B4-BE49-F238E27FC236}">
                <a16:creationId xmlns:a16="http://schemas.microsoft.com/office/drawing/2014/main" id="{8098D61E-AA4E-6CB4-B393-A62D37544B35}"/>
              </a:ext>
            </a:extLst>
          </p:cNvPr>
          <p:cNvSpPr/>
          <p:nvPr/>
        </p:nvSpPr>
        <p:spPr>
          <a:xfrm>
            <a:off x="743429" y="9517028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2"/>
                </a:lnTo>
                <a:lnTo>
                  <a:pt x="0" y="233322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dirty="0"/>
          </a:p>
        </p:txBody>
      </p:sp>
      <p:grpSp>
        <p:nvGrpSpPr>
          <p:cNvPr id="63" name="Group 21">
            <a:extLst>
              <a:ext uri="{FF2B5EF4-FFF2-40B4-BE49-F238E27FC236}">
                <a16:creationId xmlns:a16="http://schemas.microsoft.com/office/drawing/2014/main" id="{F6C35237-1DB6-0EC9-0BD6-3666AEE8856A}"/>
              </a:ext>
            </a:extLst>
          </p:cNvPr>
          <p:cNvGrpSpPr/>
          <p:nvPr/>
        </p:nvGrpSpPr>
        <p:grpSpPr>
          <a:xfrm>
            <a:off x="2885849" y="9407587"/>
            <a:ext cx="2463783" cy="440591"/>
            <a:chOff x="0" y="0"/>
            <a:chExt cx="696893" cy="124623"/>
          </a:xfrm>
        </p:grpSpPr>
        <p:sp>
          <p:nvSpPr>
            <p:cNvPr id="64" name="Freeform 22">
              <a:extLst>
                <a:ext uri="{FF2B5EF4-FFF2-40B4-BE49-F238E27FC236}">
                  <a16:creationId xmlns:a16="http://schemas.microsoft.com/office/drawing/2014/main" id="{9B17A8D2-6FF4-F372-50DE-F9DD8A277E6A}"/>
                </a:ext>
              </a:extLst>
            </p:cNvPr>
            <p:cNvSpPr/>
            <p:nvPr/>
          </p:nvSpPr>
          <p:spPr>
            <a:xfrm>
              <a:off x="0" y="0"/>
              <a:ext cx="696893" cy="124623"/>
            </a:xfrm>
            <a:custGeom>
              <a:avLst/>
              <a:gdLst/>
              <a:ahLst/>
              <a:cxnLst/>
              <a:rect l="l" t="t" r="r" b="b"/>
              <a:pathLst>
                <a:path w="696893" h="124623">
                  <a:moveTo>
                    <a:pt x="62312" y="0"/>
                  </a:moveTo>
                  <a:lnTo>
                    <a:pt x="634582" y="0"/>
                  </a:lnTo>
                  <a:cubicBezTo>
                    <a:pt x="651108" y="0"/>
                    <a:pt x="666957" y="6565"/>
                    <a:pt x="678643" y="18251"/>
                  </a:cubicBezTo>
                  <a:cubicBezTo>
                    <a:pt x="690328" y="29936"/>
                    <a:pt x="696893" y="45786"/>
                    <a:pt x="696893" y="62312"/>
                  </a:cubicBezTo>
                  <a:lnTo>
                    <a:pt x="696893" y="62312"/>
                  </a:lnTo>
                  <a:cubicBezTo>
                    <a:pt x="696893" y="78838"/>
                    <a:pt x="690328" y="94687"/>
                    <a:pt x="678643" y="106373"/>
                  </a:cubicBezTo>
                  <a:cubicBezTo>
                    <a:pt x="666957" y="118058"/>
                    <a:pt x="651108" y="124623"/>
                    <a:pt x="634582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65" name="TextBox 23">
              <a:extLst>
                <a:ext uri="{FF2B5EF4-FFF2-40B4-BE49-F238E27FC236}">
                  <a16:creationId xmlns:a16="http://schemas.microsoft.com/office/drawing/2014/main" id="{F3B6F2BC-8913-A9F1-32D6-6B659047C2E8}"/>
                </a:ext>
              </a:extLst>
            </p:cNvPr>
            <p:cNvSpPr txBox="1"/>
            <p:nvPr/>
          </p:nvSpPr>
          <p:spPr>
            <a:xfrm>
              <a:off x="0" y="-28575"/>
              <a:ext cx="696893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66" name="Freeform 34">
            <a:extLst>
              <a:ext uri="{FF2B5EF4-FFF2-40B4-BE49-F238E27FC236}">
                <a16:creationId xmlns:a16="http://schemas.microsoft.com/office/drawing/2014/main" id="{D8700097-4265-453B-BAF7-287668B885ED}"/>
              </a:ext>
            </a:extLst>
          </p:cNvPr>
          <p:cNvSpPr/>
          <p:nvPr/>
        </p:nvSpPr>
        <p:spPr>
          <a:xfrm>
            <a:off x="3009674" y="9511221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3"/>
                </a:lnTo>
                <a:lnTo>
                  <a:pt x="0" y="23332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67" name="TextBox 38">
            <a:extLst>
              <a:ext uri="{FF2B5EF4-FFF2-40B4-BE49-F238E27FC236}">
                <a16:creationId xmlns:a16="http://schemas.microsoft.com/office/drawing/2014/main" id="{A153DC9D-5F3D-1219-EC21-554FEE842031}"/>
              </a:ext>
            </a:extLst>
          </p:cNvPr>
          <p:cNvSpPr txBox="1"/>
          <p:nvPr/>
        </p:nvSpPr>
        <p:spPr>
          <a:xfrm>
            <a:off x="3281288" y="9506372"/>
            <a:ext cx="1912102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Einfache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Umsetzbarkeit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pic>
        <p:nvPicPr>
          <p:cNvPr id="68" name="Grafik 67" descr="Sterne mit einfarbiger Füllung">
            <a:extLst>
              <a:ext uri="{FF2B5EF4-FFF2-40B4-BE49-F238E27FC236}">
                <a16:creationId xmlns:a16="http://schemas.microsoft.com/office/drawing/2014/main" id="{0DDE3873-069D-ACF1-477E-69CAB699DE6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404984" y="9396484"/>
            <a:ext cx="457200" cy="457200"/>
          </a:xfrm>
          <a:prstGeom prst="rect">
            <a:avLst/>
          </a:prstGeom>
        </p:spPr>
      </p:pic>
      <p:sp>
        <p:nvSpPr>
          <p:cNvPr id="69" name="TextBox 34">
            <a:extLst>
              <a:ext uri="{FF2B5EF4-FFF2-40B4-BE49-F238E27FC236}">
                <a16:creationId xmlns:a16="http://schemas.microsoft.com/office/drawing/2014/main" id="{ABC631E3-8332-0AF9-E00B-BA849E321DB2}"/>
              </a:ext>
            </a:extLst>
          </p:cNvPr>
          <p:cNvSpPr txBox="1"/>
          <p:nvPr/>
        </p:nvSpPr>
        <p:spPr>
          <a:xfrm>
            <a:off x="5892879" y="9506372"/>
            <a:ext cx="3385647" cy="2208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“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romFahrer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ojekt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” Dortmund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</p:spTree>
    <p:extLst>
      <p:ext uri="{BB962C8B-B14F-4D97-AF65-F5344CB8AC3E}">
        <p14:creationId xmlns:p14="http://schemas.microsoft.com/office/powerpoint/2010/main" val="42876795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Flussdiagramm: Verbinder 54">
            <a:extLst>
              <a:ext uri="{FF2B5EF4-FFF2-40B4-BE49-F238E27FC236}">
                <a16:creationId xmlns:a16="http://schemas.microsoft.com/office/drawing/2014/main" id="{522FA1C2-C177-A9E4-BBCE-C8D1978EA0CA}"/>
              </a:ext>
            </a:extLst>
          </p:cNvPr>
          <p:cNvSpPr/>
          <p:nvPr/>
        </p:nvSpPr>
        <p:spPr>
          <a:xfrm>
            <a:off x="632707" y="7153921"/>
            <a:ext cx="188501" cy="188497"/>
          </a:xfrm>
          <a:prstGeom prst="flowChartConnector">
            <a:avLst/>
          </a:prstGeom>
          <a:solidFill>
            <a:srgbClr val="00AE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" name="AutoShape 3"/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" name="AutoShape 4"/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5" name="Freeform 5"/>
          <p:cNvSpPr/>
          <p:nvPr/>
        </p:nvSpPr>
        <p:spPr>
          <a:xfrm>
            <a:off x="912280" y="558004"/>
            <a:ext cx="1723804" cy="1062022"/>
          </a:xfrm>
          <a:custGeom>
            <a:avLst/>
            <a:gdLst/>
            <a:ahLst/>
            <a:cxnLst/>
            <a:rect l="l" t="t" r="r" b="b"/>
            <a:pathLst>
              <a:path w="1723804" h="1062022">
                <a:moveTo>
                  <a:pt x="0" y="0"/>
                </a:moveTo>
                <a:lnTo>
                  <a:pt x="1723804" y="0"/>
                </a:lnTo>
                <a:lnTo>
                  <a:pt x="1723804" y="1062022"/>
                </a:lnTo>
                <a:lnTo>
                  <a:pt x="0" y="1062022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6" name="Group 6"/>
          <p:cNvGrpSpPr/>
          <p:nvPr/>
        </p:nvGrpSpPr>
        <p:grpSpPr>
          <a:xfrm>
            <a:off x="743429" y="1620026"/>
            <a:ext cx="2016937" cy="339603"/>
            <a:chOff x="0" y="0"/>
            <a:chExt cx="2689249" cy="452804"/>
          </a:xfrm>
        </p:grpSpPr>
        <p:grpSp>
          <p:nvGrpSpPr>
            <p:cNvPr id="7" name="Group 7"/>
            <p:cNvGrpSpPr/>
            <p:nvPr/>
          </p:nvGrpSpPr>
          <p:grpSpPr>
            <a:xfrm>
              <a:off x="0" y="0"/>
              <a:ext cx="2689249" cy="452804"/>
              <a:chOff x="0" y="0"/>
              <a:chExt cx="747014" cy="125779"/>
            </a:xfrm>
          </p:grpSpPr>
          <p:sp>
            <p:nvSpPr>
              <p:cNvPr id="8" name="Freeform 8"/>
              <p:cNvSpPr/>
              <p:nvPr/>
            </p:nvSpPr>
            <p:spPr>
              <a:xfrm>
                <a:off x="0" y="0"/>
                <a:ext cx="747014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747014" h="125779">
                    <a:moveTo>
                      <a:pt x="0" y="0"/>
                    </a:moveTo>
                    <a:lnTo>
                      <a:pt x="747014" y="0"/>
                    </a:lnTo>
                    <a:lnTo>
                      <a:pt x="747014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" name="TextBox 9"/>
              <p:cNvSpPr txBox="1"/>
              <p:nvPr/>
            </p:nvSpPr>
            <p:spPr>
              <a:xfrm>
                <a:off x="0" y="-114300"/>
                <a:ext cx="747014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10" name="TextBox 10"/>
            <p:cNvSpPr txBox="1"/>
            <p:nvPr/>
          </p:nvSpPr>
          <p:spPr>
            <a:xfrm>
              <a:off x="65038" y="18756"/>
              <a:ext cx="2559172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 dirty="0" err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Verkehrssektor</a:t>
              </a:r>
              <a:endParaRPr lang="en-US" sz="1799" b="1" dirty="0">
                <a:solidFill>
                  <a:srgbClr val="FFC80C"/>
                </a:solidFill>
                <a:latin typeface="Open Sans Bold"/>
                <a:ea typeface="Open Sans Bold"/>
                <a:cs typeface="Open Sans Bold"/>
                <a:sym typeface="Open Sans Bold"/>
              </a:endParaRPr>
            </a:p>
          </p:txBody>
        </p:sp>
      </p:grpSp>
      <p:sp>
        <p:nvSpPr>
          <p:cNvPr id="11" name="Freeform 11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21" name="Group 21"/>
          <p:cNvGrpSpPr/>
          <p:nvPr/>
        </p:nvGrpSpPr>
        <p:grpSpPr>
          <a:xfrm>
            <a:off x="515733" y="9407587"/>
            <a:ext cx="2463783" cy="440591"/>
            <a:chOff x="0" y="0"/>
            <a:chExt cx="696893" cy="124623"/>
          </a:xfrm>
        </p:grpSpPr>
        <p:sp>
          <p:nvSpPr>
            <p:cNvPr id="22" name="Freeform 22"/>
            <p:cNvSpPr/>
            <p:nvPr/>
          </p:nvSpPr>
          <p:spPr>
            <a:xfrm>
              <a:off x="0" y="0"/>
              <a:ext cx="696893" cy="124623"/>
            </a:xfrm>
            <a:custGeom>
              <a:avLst/>
              <a:gdLst/>
              <a:ahLst/>
              <a:cxnLst/>
              <a:rect l="l" t="t" r="r" b="b"/>
              <a:pathLst>
                <a:path w="696893" h="124623">
                  <a:moveTo>
                    <a:pt x="62312" y="0"/>
                  </a:moveTo>
                  <a:lnTo>
                    <a:pt x="634582" y="0"/>
                  </a:lnTo>
                  <a:cubicBezTo>
                    <a:pt x="651108" y="0"/>
                    <a:pt x="666957" y="6565"/>
                    <a:pt x="678643" y="18251"/>
                  </a:cubicBezTo>
                  <a:cubicBezTo>
                    <a:pt x="690328" y="29936"/>
                    <a:pt x="696893" y="45786"/>
                    <a:pt x="696893" y="62312"/>
                  </a:cubicBezTo>
                  <a:lnTo>
                    <a:pt x="696893" y="62312"/>
                  </a:lnTo>
                  <a:cubicBezTo>
                    <a:pt x="696893" y="78838"/>
                    <a:pt x="690328" y="94687"/>
                    <a:pt x="678643" y="106373"/>
                  </a:cubicBezTo>
                  <a:cubicBezTo>
                    <a:pt x="666957" y="118058"/>
                    <a:pt x="651108" y="124623"/>
                    <a:pt x="634582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TextBox 23"/>
            <p:cNvSpPr txBox="1"/>
            <p:nvPr/>
          </p:nvSpPr>
          <p:spPr>
            <a:xfrm>
              <a:off x="0" y="-28575"/>
              <a:ext cx="696893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34" name="Freeform 34"/>
          <p:cNvSpPr/>
          <p:nvPr/>
        </p:nvSpPr>
        <p:spPr>
          <a:xfrm>
            <a:off x="639558" y="9511221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3"/>
                </a:lnTo>
                <a:lnTo>
                  <a:pt x="0" y="233323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5" name="Group 35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6" name="Freeform 36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41" name="TextBox 41"/>
          <p:cNvSpPr txBox="1"/>
          <p:nvPr/>
        </p:nvSpPr>
        <p:spPr>
          <a:xfrm>
            <a:off x="911172" y="9506372"/>
            <a:ext cx="1912102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>
                <a:solidFill>
                  <a:srgbClr val="000000"/>
                </a:solidFill>
                <a:latin typeface="DM Sans 1"/>
                <a:ea typeface="DM Sans 1"/>
                <a:cs typeface="DM Sans 1"/>
                <a:sym typeface="DM Sans 1"/>
              </a:rPr>
              <a:t>Einfache Umsetzbarkeit</a:t>
            </a:r>
          </a:p>
        </p:txBody>
      </p:sp>
      <p:sp>
        <p:nvSpPr>
          <p:cNvPr id="45" name="TextBox 45"/>
          <p:cNvSpPr txBox="1"/>
          <p:nvPr/>
        </p:nvSpPr>
        <p:spPr>
          <a:xfrm>
            <a:off x="517221" y="2150128"/>
            <a:ext cx="12409180" cy="343587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ie Verkehrswende gelingt durch die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bination von sogenannten </a:t>
            </a:r>
            <a:r>
              <a:rPr lang="de-DE" sz="1899" b="1" i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ush-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nd</a:t>
            </a:r>
            <a:r>
              <a:rPr lang="de-DE" sz="1899" b="1" i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pull-Maßnahmen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Ohne die Einschränkung des motorisierten Individualverkehrs wird es nicht gehen. Daher braucht es konsequente Maßnahmen, um dessen Attraktivität zu reduzieren. Dazu gehört z.B.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richtung eines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lächendeckendes Parkraummanagements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Änderung des Stellplatzschlüssels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je Wohneinheit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Reduktion des Straßenraums für MIV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z.B. Einrichtung von Einbahnstraßen, Verlagerung von Autospuren zum Umweltverbund verlagern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richtung von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tofreien bzw. autoarmen Quartieren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z.B. nach dem Superblocks-System oder durch die Einführung einer Umweltzone</a:t>
            </a:r>
          </a:p>
        </p:txBody>
      </p:sp>
      <p:sp>
        <p:nvSpPr>
          <p:cNvPr id="46" name="TextBox 46"/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</a:p>
        </p:txBody>
      </p:sp>
      <p:sp>
        <p:nvSpPr>
          <p:cNvPr id="47" name="TextBox 47"/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 Akteure</a:t>
            </a:r>
          </a:p>
        </p:txBody>
      </p:sp>
      <p:sp>
        <p:nvSpPr>
          <p:cNvPr id="49" name="TextBox 49"/>
          <p:cNvSpPr txBox="1"/>
          <p:nvPr/>
        </p:nvSpPr>
        <p:spPr>
          <a:xfrm>
            <a:off x="13469326" y="6989092"/>
            <a:ext cx="4203003" cy="226568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olitischer Beschluss:</a:t>
            </a:r>
            <a:r>
              <a:rPr lang="en-US" sz="1899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tadt-/Gemeinderat </a:t>
            </a: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führung:</a:t>
            </a:r>
            <a:r>
              <a:rPr lang="en-US" sz="1899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Kommunale Verwaltung</a:t>
            </a: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etzung:</a:t>
            </a:r>
            <a:r>
              <a:rPr lang="en-US" sz="1899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tadtwerke, Genossenschaften, Investor:innen </a:t>
            </a:r>
          </a:p>
        </p:txBody>
      </p:sp>
      <p:sp>
        <p:nvSpPr>
          <p:cNvPr id="50" name="TextBox 50"/>
          <p:cNvSpPr txBox="1"/>
          <p:nvPr/>
        </p:nvSpPr>
        <p:spPr>
          <a:xfrm>
            <a:off x="16840200" y="9541473"/>
            <a:ext cx="964187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7</a:t>
            </a:r>
          </a:p>
        </p:txBody>
      </p:sp>
      <p:sp>
        <p:nvSpPr>
          <p:cNvPr id="51" name="TextBox 51"/>
          <p:cNvSpPr txBox="1"/>
          <p:nvPr/>
        </p:nvSpPr>
        <p:spPr>
          <a:xfrm>
            <a:off x="13636773" y="5715305"/>
            <a:ext cx="4035556" cy="4515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chlemmen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tatt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arken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– Parklets in Kingston</a:t>
            </a:r>
          </a:p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kimedia Commons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52" name="Group 52"/>
          <p:cNvGrpSpPr/>
          <p:nvPr/>
        </p:nvGrpSpPr>
        <p:grpSpPr>
          <a:xfrm>
            <a:off x="2760366" y="825897"/>
            <a:ext cx="11894274" cy="884858"/>
            <a:chOff x="0" y="-38100"/>
            <a:chExt cx="15859032" cy="1179810"/>
          </a:xfrm>
        </p:grpSpPr>
        <p:sp>
          <p:nvSpPr>
            <p:cNvPr id="53" name="TextBox 53"/>
            <p:cNvSpPr txBox="1"/>
            <p:nvPr/>
          </p:nvSpPr>
          <p:spPr>
            <a:xfrm>
              <a:off x="0" y="456565"/>
              <a:ext cx="15859032" cy="68514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Reduktion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der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Flächen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für den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Individualverkehr</a:t>
              </a:r>
              <a:endPara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  <p:sp>
          <p:nvSpPr>
            <p:cNvPr id="54" name="TextBox 54"/>
            <p:cNvSpPr txBox="1"/>
            <p:nvPr/>
          </p:nvSpPr>
          <p:spPr>
            <a:xfrm>
              <a:off x="0" y="-38100"/>
              <a:ext cx="1501112" cy="408574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6</a:t>
              </a:r>
            </a:p>
          </p:txBody>
        </p:sp>
      </p:grpSp>
      <p:sp>
        <p:nvSpPr>
          <p:cNvPr id="12" name="TextBox 48">
            <a:extLst>
              <a:ext uri="{FF2B5EF4-FFF2-40B4-BE49-F238E27FC236}">
                <a16:creationId xmlns:a16="http://schemas.microsoft.com/office/drawing/2014/main" id="{C30EFABA-1768-F7FC-7171-3BF09714D40F}"/>
              </a:ext>
            </a:extLst>
          </p:cNvPr>
          <p:cNvSpPr txBox="1"/>
          <p:nvPr/>
        </p:nvSpPr>
        <p:spPr>
          <a:xfrm>
            <a:off x="889210" y="7027192"/>
            <a:ext cx="11554521" cy="742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Technisch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spar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schränkung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s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ndividualverkehrs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</a:p>
        </p:txBody>
      </p:sp>
      <p:grpSp>
        <p:nvGrpSpPr>
          <p:cNvPr id="38" name="Group 55">
            <a:extLst>
              <a:ext uri="{FF2B5EF4-FFF2-40B4-BE49-F238E27FC236}">
                <a16:creationId xmlns:a16="http://schemas.microsoft.com/office/drawing/2014/main" id="{6AC0D203-42FB-AA63-A00F-4C85C2C6FC48}"/>
              </a:ext>
            </a:extLst>
          </p:cNvPr>
          <p:cNvGrpSpPr/>
          <p:nvPr/>
        </p:nvGrpSpPr>
        <p:grpSpPr>
          <a:xfrm>
            <a:off x="-15767" y="2291998"/>
            <a:ext cx="183377" cy="7556180"/>
            <a:chOff x="-34161" y="24949"/>
            <a:chExt cx="244503" cy="10074908"/>
          </a:xfrm>
        </p:grpSpPr>
        <p:sp>
          <p:nvSpPr>
            <p:cNvPr id="39" name="TextBox 56">
              <a:extLst>
                <a:ext uri="{FF2B5EF4-FFF2-40B4-BE49-F238E27FC236}">
                  <a16:creationId xmlns:a16="http://schemas.microsoft.com/office/drawing/2014/main" id="{36AA6E0C-5C46-DF5B-D4DA-343681FF7FC8}"/>
                </a:ext>
              </a:extLst>
            </p:cNvPr>
            <p:cNvSpPr txBox="1"/>
            <p:nvPr/>
          </p:nvSpPr>
          <p:spPr>
            <a:xfrm rot="16200000">
              <a:off x="-4465808" y="4477619"/>
              <a:ext cx="9128820" cy="22348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399"/>
                </a:lnSpc>
              </a:pP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UBA 2022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schutzpotenziale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i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ommun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, S. 84 f. </a:t>
              </a:r>
              <a:endParaRPr lang="en-US" sz="900" dirty="0">
                <a:solidFill>
                  <a:srgbClr val="011633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9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48" name="TextBox 57">
              <a:extLst>
                <a:ext uri="{FF2B5EF4-FFF2-40B4-BE49-F238E27FC236}">
                  <a16:creationId xmlns:a16="http://schemas.microsoft.com/office/drawing/2014/main" id="{E7209F8B-8841-4E54-8F88-E04C363DE3E6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pic>
        <p:nvPicPr>
          <p:cNvPr id="13" name="Grafik 12" descr="Sterne mit einfarbiger Füllung">
            <a:extLst>
              <a:ext uri="{FF2B5EF4-FFF2-40B4-BE49-F238E27FC236}">
                <a16:creationId xmlns:a16="http://schemas.microsoft.com/office/drawing/2014/main" id="{F17D2DC7-9363-D5CD-D3D7-AD928FF2663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052709" y="9409163"/>
            <a:ext cx="457200" cy="457200"/>
          </a:xfrm>
          <a:prstGeom prst="rect">
            <a:avLst/>
          </a:prstGeom>
        </p:spPr>
      </p:pic>
      <p:sp>
        <p:nvSpPr>
          <p:cNvPr id="14" name="TextBox 34">
            <a:extLst>
              <a:ext uri="{FF2B5EF4-FFF2-40B4-BE49-F238E27FC236}">
                <a16:creationId xmlns:a16="http://schemas.microsoft.com/office/drawing/2014/main" id="{79C7B22E-68E3-27F2-94E4-7FEBC228D2E4}"/>
              </a:ext>
            </a:extLst>
          </p:cNvPr>
          <p:cNvSpPr txBox="1"/>
          <p:nvPr/>
        </p:nvSpPr>
        <p:spPr>
          <a:xfrm>
            <a:off x="3540604" y="9519051"/>
            <a:ext cx="3385647" cy="2208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AP Buchholz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</p:spTree>
    <p:extLst>
      <p:ext uri="{BB962C8B-B14F-4D97-AF65-F5344CB8AC3E}">
        <p14:creationId xmlns:p14="http://schemas.microsoft.com/office/powerpoint/2010/main" val="25733684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Flussdiagramm: Verbinder 61">
            <a:extLst>
              <a:ext uri="{FF2B5EF4-FFF2-40B4-BE49-F238E27FC236}">
                <a16:creationId xmlns:a16="http://schemas.microsoft.com/office/drawing/2014/main" id="{86E902AA-E050-D8DB-1627-5EDEBA1CA010}"/>
              </a:ext>
            </a:extLst>
          </p:cNvPr>
          <p:cNvSpPr/>
          <p:nvPr/>
        </p:nvSpPr>
        <p:spPr>
          <a:xfrm>
            <a:off x="616918" y="8270470"/>
            <a:ext cx="188501" cy="188497"/>
          </a:xfrm>
          <a:prstGeom prst="flowChartConnector">
            <a:avLst/>
          </a:prstGeom>
          <a:solidFill>
            <a:srgbClr val="00AE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" name="AutoShape 3"/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" name="AutoShape 4"/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5" name="Freeform 5"/>
          <p:cNvSpPr/>
          <p:nvPr/>
        </p:nvSpPr>
        <p:spPr>
          <a:xfrm>
            <a:off x="912280" y="558004"/>
            <a:ext cx="1723804" cy="1062022"/>
          </a:xfrm>
          <a:custGeom>
            <a:avLst/>
            <a:gdLst/>
            <a:ahLst/>
            <a:cxnLst/>
            <a:rect l="l" t="t" r="r" b="b"/>
            <a:pathLst>
              <a:path w="1723804" h="1062022">
                <a:moveTo>
                  <a:pt x="0" y="0"/>
                </a:moveTo>
                <a:lnTo>
                  <a:pt x="1723804" y="0"/>
                </a:lnTo>
                <a:lnTo>
                  <a:pt x="1723804" y="1062022"/>
                </a:lnTo>
                <a:lnTo>
                  <a:pt x="0" y="1062022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6" name="Group 6"/>
          <p:cNvGrpSpPr/>
          <p:nvPr/>
        </p:nvGrpSpPr>
        <p:grpSpPr>
          <a:xfrm>
            <a:off x="743429" y="1620026"/>
            <a:ext cx="2016937" cy="339603"/>
            <a:chOff x="0" y="0"/>
            <a:chExt cx="2689249" cy="452804"/>
          </a:xfrm>
        </p:grpSpPr>
        <p:grpSp>
          <p:nvGrpSpPr>
            <p:cNvPr id="7" name="Group 7"/>
            <p:cNvGrpSpPr/>
            <p:nvPr/>
          </p:nvGrpSpPr>
          <p:grpSpPr>
            <a:xfrm>
              <a:off x="0" y="0"/>
              <a:ext cx="2689249" cy="452804"/>
              <a:chOff x="0" y="0"/>
              <a:chExt cx="747014" cy="125779"/>
            </a:xfrm>
          </p:grpSpPr>
          <p:sp>
            <p:nvSpPr>
              <p:cNvPr id="8" name="Freeform 8"/>
              <p:cNvSpPr/>
              <p:nvPr/>
            </p:nvSpPr>
            <p:spPr>
              <a:xfrm>
                <a:off x="0" y="0"/>
                <a:ext cx="747014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747014" h="125779">
                    <a:moveTo>
                      <a:pt x="0" y="0"/>
                    </a:moveTo>
                    <a:lnTo>
                      <a:pt x="747014" y="0"/>
                    </a:lnTo>
                    <a:lnTo>
                      <a:pt x="747014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" name="TextBox 9"/>
              <p:cNvSpPr txBox="1"/>
              <p:nvPr/>
            </p:nvSpPr>
            <p:spPr>
              <a:xfrm>
                <a:off x="0" y="-114300"/>
                <a:ext cx="747014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10" name="TextBox 10"/>
            <p:cNvSpPr txBox="1"/>
            <p:nvPr/>
          </p:nvSpPr>
          <p:spPr>
            <a:xfrm>
              <a:off x="65038" y="18756"/>
              <a:ext cx="2559172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 dirty="0" err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Verkehrssektor</a:t>
              </a:r>
              <a:endParaRPr lang="en-US" sz="1799" b="1" dirty="0">
                <a:solidFill>
                  <a:srgbClr val="FFC80C"/>
                </a:solidFill>
                <a:latin typeface="Open Sans Bold"/>
                <a:ea typeface="Open Sans Bold"/>
                <a:cs typeface="Open Sans Bold"/>
                <a:sym typeface="Open Sans Bold"/>
              </a:endParaRPr>
            </a:p>
          </p:txBody>
        </p:sp>
      </p:grpSp>
      <p:sp>
        <p:nvSpPr>
          <p:cNvPr id="11" name="Freeform 11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5" name="Group 35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6" name="Freeform 36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45" name="TextBox 45"/>
          <p:cNvSpPr txBox="1"/>
          <p:nvPr/>
        </p:nvSpPr>
        <p:spPr>
          <a:xfrm>
            <a:off x="517221" y="2150128"/>
            <a:ext cx="12409180" cy="266643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ie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waltung sollte Vorbild für andere Akteure der Stadtgesellschaft sein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nd ihr Mobilitätsverhalten nach den Prinzipien der Verkehrswende –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ringern, verlagern, verbessern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– umstellen.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ringerung von Dienstfahrten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er Verwaltungsmitarbeitenden, z.B. durch Ermöglichung von Home Office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lagerung von Dienstfahrten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f den Umweltverbund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 Monatstickets für den ÖPNV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zw. betriebliche Nutzung des ÖPNV und Bereitstellung z.B. von e-Bikes und Lastenrädern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besserung durch Umstieg der kommunalen Flotte auf e-Mobilität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nkl. Umstieg der kommunalen (Tochter-)Angebote wie Abfallfahrzeuge</a:t>
            </a:r>
          </a:p>
        </p:txBody>
      </p:sp>
      <p:sp>
        <p:nvSpPr>
          <p:cNvPr id="46" name="TextBox 46"/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</a:p>
        </p:txBody>
      </p:sp>
      <p:sp>
        <p:nvSpPr>
          <p:cNvPr id="47" name="TextBox 47"/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 Akteure</a:t>
            </a:r>
          </a:p>
        </p:txBody>
      </p:sp>
      <p:sp>
        <p:nvSpPr>
          <p:cNvPr id="49" name="TextBox 49"/>
          <p:cNvSpPr txBox="1"/>
          <p:nvPr/>
        </p:nvSpPr>
        <p:spPr>
          <a:xfrm>
            <a:off x="13469326" y="6989092"/>
            <a:ext cx="4203003" cy="228171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olitischer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schluss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meindera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(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nkl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öchter-unternehm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)</a:t>
            </a: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lanung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waltung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führung</a:t>
            </a:r>
            <a:r>
              <a:rPr lang="en-US" sz="1899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tadtwerk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od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nternehm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50" name="TextBox 50"/>
          <p:cNvSpPr txBox="1"/>
          <p:nvPr/>
        </p:nvSpPr>
        <p:spPr>
          <a:xfrm>
            <a:off x="16764000" y="9541473"/>
            <a:ext cx="1040387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8</a:t>
            </a:r>
          </a:p>
        </p:txBody>
      </p:sp>
      <p:sp>
        <p:nvSpPr>
          <p:cNvPr id="51" name="TextBox 51"/>
          <p:cNvSpPr txBox="1"/>
          <p:nvPr/>
        </p:nvSpPr>
        <p:spPr>
          <a:xfrm>
            <a:off x="13636773" y="5715305"/>
            <a:ext cx="4035556" cy="4515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-</a:t>
            </a: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uhrpark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Stadtwerke</a:t>
            </a:r>
          </a:p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kimedia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Commons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56" name="Group 49">
            <a:extLst>
              <a:ext uri="{FF2B5EF4-FFF2-40B4-BE49-F238E27FC236}">
                <a16:creationId xmlns:a16="http://schemas.microsoft.com/office/drawing/2014/main" id="{966CC0BD-FF60-6CE3-2FFF-C6A9EF00D354}"/>
              </a:ext>
            </a:extLst>
          </p:cNvPr>
          <p:cNvGrpSpPr/>
          <p:nvPr/>
        </p:nvGrpSpPr>
        <p:grpSpPr>
          <a:xfrm>
            <a:off x="2760366" y="320493"/>
            <a:ext cx="11894274" cy="1423467"/>
            <a:chOff x="0" y="-38100"/>
            <a:chExt cx="15859032" cy="1897955"/>
          </a:xfrm>
        </p:grpSpPr>
        <p:sp>
          <p:nvSpPr>
            <p:cNvPr id="57" name="TextBox 50">
              <a:extLst>
                <a:ext uri="{FF2B5EF4-FFF2-40B4-BE49-F238E27FC236}">
                  <a16:creationId xmlns:a16="http://schemas.microsoft.com/office/drawing/2014/main" id="{0784FCAF-EAF1-0C4C-21B3-2691C039D16A}"/>
                </a:ext>
              </a:extLst>
            </p:cNvPr>
            <p:cNvSpPr txBox="1"/>
            <p:nvPr/>
          </p:nvSpPr>
          <p:spPr>
            <a:xfrm>
              <a:off x="0" y="456565"/>
              <a:ext cx="15859032" cy="140329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Umstellung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des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kommunalen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Fuhrparks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</a:p>
            <a:p>
              <a:pPr algn="l">
                <a:lnSpc>
                  <a:spcPts val="4200"/>
                </a:lnSpc>
              </a:pP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und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Angebote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für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Mitarbeiter:innen</a:t>
              </a:r>
              <a:endPara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  <p:sp>
          <p:nvSpPr>
            <p:cNvPr id="58" name="TextBox 51">
              <a:extLst>
                <a:ext uri="{FF2B5EF4-FFF2-40B4-BE49-F238E27FC236}">
                  <a16:creationId xmlns:a16="http://schemas.microsoft.com/office/drawing/2014/main" id="{D483B87D-E7B8-7DE1-0881-42B7997F9F41}"/>
                </a:ext>
              </a:extLst>
            </p:cNvPr>
            <p:cNvSpPr txBox="1"/>
            <p:nvPr/>
          </p:nvSpPr>
          <p:spPr>
            <a:xfrm>
              <a:off x="0" y="-38100"/>
              <a:ext cx="1882048" cy="40857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7</a:t>
              </a:r>
            </a:p>
          </p:txBody>
        </p:sp>
      </p:grpSp>
      <p:grpSp>
        <p:nvGrpSpPr>
          <p:cNvPr id="59" name="Group 55">
            <a:extLst>
              <a:ext uri="{FF2B5EF4-FFF2-40B4-BE49-F238E27FC236}">
                <a16:creationId xmlns:a16="http://schemas.microsoft.com/office/drawing/2014/main" id="{179B1420-3D51-5ED2-1D7C-8D68C7A10518}"/>
              </a:ext>
            </a:extLst>
          </p:cNvPr>
          <p:cNvGrpSpPr/>
          <p:nvPr/>
        </p:nvGrpSpPr>
        <p:grpSpPr>
          <a:xfrm>
            <a:off x="-15767" y="2291998"/>
            <a:ext cx="183377" cy="7556180"/>
            <a:chOff x="-34161" y="24949"/>
            <a:chExt cx="244503" cy="10074908"/>
          </a:xfrm>
        </p:grpSpPr>
        <p:sp>
          <p:nvSpPr>
            <p:cNvPr id="60" name="TextBox 56">
              <a:extLst>
                <a:ext uri="{FF2B5EF4-FFF2-40B4-BE49-F238E27FC236}">
                  <a16:creationId xmlns:a16="http://schemas.microsoft.com/office/drawing/2014/main" id="{DDD7D248-F4F4-06A4-3A19-A9534EFD6F55}"/>
                </a:ext>
              </a:extLst>
            </p:cNvPr>
            <p:cNvSpPr txBox="1"/>
            <p:nvPr/>
          </p:nvSpPr>
          <p:spPr>
            <a:xfrm rot="16200000">
              <a:off x="-4465808" y="4477619"/>
              <a:ext cx="9128820" cy="22348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399"/>
                </a:lnSpc>
              </a:pP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UBA 2022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schutzpotenziale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i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ommun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endParaRPr lang="en-US" sz="900" dirty="0">
                <a:solidFill>
                  <a:srgbClr val="011633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8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61" name="TextBox 57">
              <a:extLst>
                <a:ext uri="{FF2B5EF4-FFF2-40B4-BE49-F238E27FC236}">
                  <a16:creationId xmlns:a16="http://schemas.microsoft.com/office/drawing/2014/main" id="{77412A18-4E82-5092-2B14-B3FBC15D5FFD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sp>
        <p:nvSpPr>
          <p:cNvPr id="12" name="TextBox 48">
            <a:extLst>
              <a:ext uri="{FF2B5EF4-FFF2-40B4-BE49-F238E27FC236}">
                <a16:creationId xmlns:a16="http://schemas.microsoft.com/office/drawing/2014/main" id="{5EE6E486-2A54-6BE8-DCE6-A14BDAA9C472}"/>
              </a:ext>
            </a:extLst>
          </p:cNvPr>
          <p:cNvSpPr txBox="1"/>
          <p:nvPr/>
        </p:nvSpPr>
        <p:spPr>
          <a:xfrm>
            <a:off x="889210" y="7027192"/>
            <a:ext cx="12037191" cy="18969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Enabling-</a:t>
            </a: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rmöglich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Nutz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THG-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rei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kehrsträg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;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etz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zw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atsächlich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tie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ritte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l">
              <a:lnSpc>
                <a:spcPts val="3039"/>
              </a:lnSpc>
            </a:pP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l">
              <a:lnSpc>
                <a:spcPts val="3039"/>
              </a:lnSpc>
            </a:pP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Technisch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spar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rsetz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fossil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trieben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obilität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D7F5E32-433E-F20A-1E4B-2DC9C4A85BC5}"/>
              </a:ext>
            </a:extLst>
          </p:cNvPr>
          <p:cNvGrpSpPr/>
          <p:nvPr/>
        </p:nvGrpSpPr>
        <p:grpSpPr>
          <a:xfrm>
            <a:off x="615671" y="7151017"/>
            <a:ext cx="188501" cy="188501"/>
            <a:chOff x="0" y="0"/>
            <a:chExt cx="812800" cy="812800"/>
          </a:xfrm>
        </p:grpSpPr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46200C42-0CB3-EB2D-8990-10EB88CE1A60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FC80C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52" name="TextBox 14">
              <a:extLst>
                <a:ext uri="{FF2B5EF4-FFF2-40B4-BE49-F238E27FC236}">
                  <a16:creationId xmlns:a16="http://schemas.microsoft.com/office/drawing/2014/main" id="{EE0B6646-41C5-FD47-2E61-1323EEAF605A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grpSp>
        <p:nvGrpSpPr>
          <p:cNvPr id="37" name="Group 11">
            <a:extLst>
              <a:ext uri="{FF2B5EF4-FFF2-40B4-BE49-F238E27FC236}">
                <a16:creationId xmlns:a16="http://schemas.microsoft.com/office/drawing/2014/main" id="{5CEF5A9C-CAF7-1822-D871-CA6EBD2A2ACC}"/>
              </a:ext>
            </a:extLst>
          </p:cNvPr>
          <p:cNvGrpSpPr/>
          <p:nvPr/>
        </p:nvGrpSpPr>
        <p:grpSpPr>
          <a:xfrm>
            <a:off x="615671" y="9407587"/>
            <a:ext cx="2144695" cy="440591"/>
            <a:chOff x="0" y="0"/>
            <a:chExt cx="606637" cy="124623"/>
          </a:xfrm>
        </p:grpSpPr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1439D99-B259-D388-36F0-2C95A8AB0228}"/>
                </a:ext>
              </a:extLst>
            </p:cNvPr>
            <p:cNvSpPr/>
            <p:nvPr/>
          </p:nvSpPr>
          <p:spPr>
            <a:xfrm>
              <a:off x="0" y="0"/>
              <a:ext cx="606637" cy="124623"/>
            </a:xfrm>
            <a:custGeom>
              <a:avLst/>
              <a:gdLst/>
              <a:ahLst/>
              <a:cxnLst/>
              <a:rect l="l" t="t" r="r" b="b"/>
              <a:pathLst>
                <a:path w="606637" h="124623">
                  <a:moveTo>
                    <a:pt x="62312" y="0"/>
                  </a:moveTo>
                  <a:lnTo>
                    <a:pt x="544326" y="0"/>
                  </a:lnTo>
                  <a:cubicBezTo>
                    <a:pt x="560852" y="0"/>
                    <a:pt x="576701" y="6565"/>
                    <a:pt x="588387" y="18251"/>
                  </a:cubicBezTo>
                  <a:cubicBezTo>
                    <a:pt x="600072" y="29936"/>
                    <a:pt x="606637" y="45786"/>
                    <a:pt x="606637" y="62312"/>
                  </a:cubicBezTo>
                  <a:lnTo>
                    <a:pt x="606637" y="62312"/>
                  </a:lnTo>
                  <a:cubicBezTo>
                    <a:pt x="606637" y="96725"/>
                    <a:pt x="578740" y="124623"/>
                    <a:pt x="544326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39" name="TextBox 13">
              <a:extLst>
                <a:ext uri="{FF2B5EF4-FFF2-40B4-BE49-F238E27FC236}">
                  <a16:creationId xmlns:a16="http://schemas.microsoft.com/office/drawing/2014/main" id="{797AC406-E4B4-6CE5-83B1-156A6D7781AA}"/>
                </a:ext>
              </a:extLst>
            </p:cNvPr>
            <p:cNvSpPr txBox="1"/>
            <p:nvPr/>
          </p:nvSpPr>
          <p:spPr>
            <a:xfrm>
              <a:off x="0" y="-28575"/>
              <a:ext cx="606637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48" name="TextBox 37">
            <a:extLst>
              <a:ext uri="{FF2B5EF4-FFF2-40B4-BE49-F238E27FC236}">
                <a16:creationId xmlns:a16="http://schemas.microsoft.com/office/drawing/2014/main" id="{55526420-2F7C-26DF-AEDA-79985153F6B2}"/>
              </a:ext>
            </a:extLst>
          </p:cNvPr>
          <p:cNvSpPr txBox="1"/>
          <p:nvPr/>
        </p:nvSpPr>
        <p:spPr>
          <a:xfrm>
            <a:off x="1025390" y="9506372"/>
            <a:ext cx="1610695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Öffentliche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Wirkung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53" name="Freeform 26">
            <a:extLst>
              <a:ext uri="{FF2B5EF4-FFF2-40B4-BE49-F238E27FC236}">
                <a16:creationId xmlns:a16="http://schemas.microsoft.com/office/drawing/2014/main" id="{4C8C37D1-CF73-3A30-73E8-AFE0F8D3A4A3}"/>
              </a:ext>
            </a:extLst>
          </p:cNvPr>
          <p:cNvSpPr/>
          <p:nvPr/>
        </p:nvSpPr>
        <p:spPr>
          <a:xfrm>
            <a:off x="743429" y="9517028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2"/>
                </a:lnTo>
                <a:lnTo>
                  <a:pt x="0" y="233322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dirty="0"/>
          </a:p>
        </p:txBody>
      </p:sp>
      <p:grpSp>
        <p:nvGrpSpPr>
          <p:cNvPr id="54" name="Group 21">
            <a:extLst>
              <a:ext uri="{FF2B5EF4-FFF2-40B4-BE49-F238E27FC236}">
                <a16:creationId xmlns:a16="http://schemas.microsoft.com/office/drawing/2014/main" id="{9C912B9B-327E-4C80-773B-42CD92DF2181}"/>
              </a:ext>
            </a:extLst>
          </p:cNvPr>
          <p:cNvGrpSpPr/>
          <p:nvPr/>
        </p:nvGrpSpPr>
        <p:grpSpPr>
          <a:xfrm>
            <a:off x="2885849" y="9407587"/>
            <a:ext cx="2463783" cy="440591"/>
            <a:chOff x="0" y="0"/>
            <a:chExt cx="696893" cy="124623"/>
          </a:xfrm>
        </p:grpSpPr>
        <p:sp>
          <p:nvSpPr>
            <p:cNvPr id="55" name="Freeform 22">
              <a:extLst>
                <a:ext uri="{FF2B5EF4-FFF2-40B4-BE49-F238E27FC236}">
                  <a16:creationId xmlns:a16="http://schemas.microsoft.com/office/drawing/2014/main" id="{65D7DC7D-A2A9-D11B-B210-031D4C9F53AC}"/>
                </a:ext>
              </a:extLst>
            </p:cNvPr>
            <p:cNvSpPr/>
            <p:nvPr/>
          </p:nvSpPr>
          <p:spPr>
            <a:xfrm>
              <a:off x="0" y="0"/>
              <a:ext cx="696893" cy="124623"/>
            </a:xfrm>
            <a:custGeom>
              <a:avLst/>
              <a:gdLst/>
              <a:ahLst/>
              <a:cxnLst/>
              <a:rect l="l" t="t" r="r" b="b"/>
              <a:pathLst>
                <a:path w="696893" h="124623">
                  <a:moveTo>
                    <a:pt x="62312" y="0"/>
                  </a:moveTo>
                  <a:lnTo>
                    <a:pt x="634582" y="0"/>
                  </a:lnTo>
                  <a:cubicBezTo>
                    <a:pt x="651108" y="0"/>
                    <a:pt x="666957" y="6565"/>
                    <a:pt x="678643" y="18251"/>
                  </a:cubicBezTo>
                  <a:cubicBezTo>
                    <a:pt x="690328" y="29936"/>
                    <a:pt x="696893" y="45786"/>
                    <a:pt x="696893" y="62312"/>
                  </a:cubicBezTo>
                  <a:lnTo>
                    <a:pt x="696893" y="62312"/>
                  </a:lnTo>
                  <a:cubicBezTo>
                    <a:pt x="696893" y="78838"/>
                    <a:pt x="690328" y="94687"/>
                    <a:pt x="678643" y="106373"/>
                  </a:cubicBezTo>
                  <a:cubicBezTo>
                    <a:pt x="666957" y="118058"/>
                    <a:pt x="651108" y="124623"/>
                    <a:pt x="634582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63" name="TextBox 23">
              <a:extLst>
                <a:ext uri="{FF2B5EF4-FFF2-40B4-BE49-F238E27FC236}">
                  <a16:creationId xmlns:a16="http://schemas.microsoft.com/office/drawing/2014/main" id="{B1731AF2-011E-BFDD-3116-B060F338ABB8}"/>
                </a:ext>
              </a:extLst>
            </p:cNvPr>
            <p:cNvSpPr txBox="1"/>
            <p:nvPr/>
          </p:nvSpPr>
          <p:spPr>
            <a:xfrm>
              <a:off x="0" y="-28575"/>
              <a:ext cx="696893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64" name="Freeform 34">
            <a:extLst>
              <a:ext uri="{FF2B5EF4-FFF2-40B4-BE49-F238E27FC236}">
                <a16:creationId xmlns:a16="http://schemas.microsoft.com/office/drawing/2014/main" id="{74515A69-FBD2-843B-BCC8-76CD6D92C0EA}"/>
              </a:ext>
            </a:extLst>
          </p:cNvPr>
          <p:cNvSpPr/>
          <p:nvPr/>
        </p:nvSpPr>
        <p:spPr>
          <a:xfrm>
            <a:off x="3009674" y="9511221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3"/>
                </a:lnTo>
                <a:lnTo>
                  <a:pt x="0" y="233323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65" name="TextBox 38">
            <a:extLst>
              <a:ext uri="{FF2B5EF4-FFF2-40B4-BE49-F238E27FC236}">
                <a16:creationId xmlns:a16="http://schemas.microsoft.com/office/drawing/2014/main" id="{E290797A-91C8-251E-7769-243B856D6F5F}"/>
              </a:ext>
            </a:extLst>
          </p:cNvPr>
          <p:cNvSpPr txBox="1"/>
          <p:nvPr/>
        </p:nvSpPr>
        <p:spPr>
          <a:xfrm>
            <a:off x="3281288" y="9506372"/>
            <a:ext cx="1912102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Einfache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Umsetzbarkeit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pic>
        <p:nvPicPr>
          <p:cNvPr id="66" name="Grafik 65" descr="Sterne mit einfarbiger Füllung">
            <a:extLst>
              <a:ext uri="{FF2B5EF4-FFF2-40B4-BE49-F238E27FC236}">
                <a16:creationId xmlns:a16="http://schemas.microsoft.com/office/drawing/2014/main" id="{BC769EF8-92C7-E624-0E9A-7A6042B8C8C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439338" y="9407629"/>
            <a:ext cx="457200" cy="457200"/>
          </a:xfrm>
          <a:prstGeom prst="rect">
            <a:avLst/>
          </a:prstGeom>
        </p:spPr>
      </p:pic>
      <p:sp>
        <p:nvSpPr>
          <p:cNvPr id="67" name="TextBox 34">
            <a:extLst>
              <a:ext uri="{FF2B5EF4-FFF2-40B4-BE49-F238E27FC236}">
                <a16:creationId xmlns:a16="http://schemas.microsoft.com/office/drawing/2014/main" id="{325A509B-1922-B664-9072-563892B84F22}"/>
              </a:ext>
            </a:extLst>
          </p:cNvPr>
          <p:cNvSpPr txBox="1"/>
          <p:nvPr/>
        </p:nvSpPr>
        <p:spPr>
          <a:xfrm>
            <a:off x="5927233" y="9517517"/>
            <a:ext cx="3385647" cy="2208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AP Buchholz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</p:spTree>
    <p:extLst>
      <p:ext uri="{BB962C8B-B14F-4D97-AF65-F5344CB8AC3E}">
        <p14:creationId xmlns:p14="http://schemas.microsoft.com/office/powerpoint/2010/main" val="40047446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Office">
  <a:themeElements>
    <a:clrScheme name="Benutzerdefiniert 3">
      <a:dk1>
        <a:srgbClr val="001432"/>
      </a:dk1>
      <a:lt1>
        <a:srgbClr val="001432"/>
      </a:lt1>
      <a:dk2>
        <a:srgbClr val="FFC80C"/>
      </a:dk2>
      <a:lt2>
        <a:srgbClr val="FEFFFF"/>
      </a:lt2>
      <a:accent1>
        <a:srgbClr val="FFC80C"/>
      </a:accent1>
      <a:accent2>
        <a:srgbClr val="00AED7"/>
      </a:accent2>
      <a:accent3>
        <a:srgbClr val="A3D769"/>
      </a:accent3>
      <a:accent4>
        <a:srgbClr val="FEFFFF"/>
      </a:accent4>
      <a:accent5>
        <a:srgbClr val="001432"/>
      </a:accent5>
      <a:accent6>
        <a:srgbClr val="001432"/>
      </a:accent6>
      <a:hlink>
        <a:srgbClr val="0563C1"/>
      </a:hlink>
      <a:folHlink>
        <a:srgbClr val="FFC80C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amfindungsevents_Vorlage_Nov 22" id="{6BF04B8E-E545-456D-8C5F-128A6E7D8C3D}" vid="{37944432-ADFD-4989-938B-DA118DF2533C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553</Words>
  <Application>Microsoft Office PowerPoint</Application>
  <PresentationFormat>Benutzerdefiniert</PresentationFormat>
  <Paragraphs>252</Paragraphs>
  <Slides>1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23" baseType="lpstr">
      <vt:lpstr>Arial</vt:lpstr>
      <vt:lpstr>DM Sans 2 Bold</vt:lpstr>
      <vt:lpstr>Open Sans Bold</vt:lpstr>
      <vt:lpstr>DM Sans 2</vt:lpstr>
      <vt:lpstr>Calibri</vt:lpstr>
      <vt:lpstr>DM Sans 1</vt:lpstr>
      <vt:lpstr>Wingdings</vt:lpstr>
      <vt:lpstr>Symbol</vt:lpstr>
      <vt:lpstr>Office Theme</vt:lpstr>
      <vt:lpstr>5_Office</vt:lpstr>
      <vt:lpstr>think-cell Folie</vt:lpstr>
      <vt:lpstr>LocalZero Top-Maßnahmen Verkehr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. Entwurf_PP Top-Maßnahmen</dc:title>
  <dc:creator>Pauline Höchter</dc:creator>
  <cp:lastModifiedBy>Pauline Höchter</cp:lastModifiedBy>
  <cp:revision>4</cp:revision>
  <dcterms:created xsi:type="dcterms:W3CDTF">2006-08-16T00:00:00Z</dcterms:created>
  <dcterms:modified xsi:type="dcterms:W3CDTF">2025-01-30T11:03:31Z</dcterms:modified>
  <dc:identifier>DAGMa3UTT6E</dc:identifier>
</cp:coreProperties>
</file>